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1.xml" ContentType="application/vnd.openxmlformats-officedocument.presentationml.tags+xml"/>
  <Override PartName="/ppt/charts/chartEx1.xml" ContentType="application/vnd.ms-office.chartex+xml"/>
  <Override PartName="/ppt/charts/style1.xml" ContentType="application/vnd.ms-office.chartstyle+xml"/>
  <Override PartName="/ppt/charts/colors1.xml" ContentType="application/vnd.ms-office.chartcolorstyl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813" r:id="rId1"/>
  </p:sldMasterIdLst>
  <p:notesMasterIdLst>
    <p:notesMasterId r:id="rId15"/>
  </p:notesMasterIdLst>
  <p:sldIdLst>
    <p:sldId id="256" r:id="rId2"/>
    <p:sldId id="2897" r:id="rId3"/>
    <p:sldId id="2898" r:id="rId4"/>
    <p:sldId id="635" r:id="rId5"/>
    <p:sldId id="2899" r:id="rId6"/>
    <p:sldId id="260" r:id="rId7"/>
    <p:sldId id="261" r:id="rId8"/>
    <p:sldId id="262" r:id="rId9"/>
    <p:sldId id="499" r:id="rId10"/>
    <p:sldId id="264" r:id="rId11"/>
    <p:sldId id="525" r:id="rId12"/>
    <p:sldId id="2900" r:id="rId13"/>
    <p:sldId id="273" r:id="rId14"/>
  </p:sldIdLst>
  <p:sldSz cx="12192000" cy="6858000"/>
  <p:notesSz cx="7315200" cy="96012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EC95701-46A0-CFF0-7CCE-036AEC316F9E}" name="UNG, Polin" initials="UP" userId="S::UngP@unaids.org::c23b65d3-aff6-4e33-8a91-f1b501fa8fc9" providerId="AD"/>
  <p188:author id="{4EFBDB8F-7417-A497-2D79-53103E6497BB}" name="Khun Rathana" initials="KR" userId="7cfbdaa44f808d37" providerId="Windows Live"/>
  <p188:author id="{723ED2F6-C832-4E85-3012-D44C06A8FAA8}" name="Dalen Nhim" initials="DN" userId="S::Ndalen@fhi360.org::abc83275-f0ec-4801-9c42-5081a8c4ee78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90B7628C-6448-4973-BB2F-FB57236678DE}" v="2" dt="2023-08-08T06:47:53.883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002" autoAdjust="0"/>
    <p:restoredTop sz="81909" autoAdjust="0"/>
  </p:normalViewPr>
  <p:slideViewPr>
    <p:cSldViewPr snapToGrid="0">
      <p:cViewPr varScale="1">
        <p:scale>
          <a:sx n="52" d="100"/>
          <a:sy n="52" d="100"/>
        </p:scale>
        <p:origin x="1268" y="4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80" d="100"/>
        <a:sy n="180" d="100"/>
      </p:scale>
      <p:origin x="0" y="-19940"/>
    </p:cViewPr>
  </p:sorterViewPr>
  <p:notesViewPr>
    <p:cSldViewPr snapToGrid="0">
      <p:cViewPr varScale="1">
        <p:scale>
          <a:sx n="78" d="100"/>
          <a:sy n="78" d="100"/>
        </p:scale>
        <p:origin x="1902" y="7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21" Type="http://schemas.microsoft.com/office/2015/10/relationships/revisionInfo" Target="revisionInfo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20" Type="http://schemas.microsoft.com/office/2016/11/relationships/changesInfo" Target="changesInfos/changesInfo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microsoft.com/office/2018/10/relationships/authors" Target="author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Khun Rathana" userId="6ced10f0-cab2-4c96-b3fc-43eb9cf359ac" providerId="ADAL" clId="{90B7628C-6448-4973-BB2F-FB57236678DE}"/>
    <pc:docChg chg="addSld delSld modSld sldOrd">
      <pc:chgData name="Khun Rathana" userId="6ced10f0-cab2-4c96-b3fc-43eb9cf359ac" providerId="ADAL" clId="{90B7628C-6448-4973-BB2F-FB57236678DE}" dt="2023-08-09T02:09:22.719" v="196" actId="20577"/>
      <pc:docMkLst>
        <pc:docMk/>
      </pc:docMkLst>
      <pc:sldChg chg="modSp mod">
        <pc:chgData name="Khun Rathana" userId="6ced10f0-cab2-4c96-b3fc-43eb9cf359ac" providerId="ADAL" clId="{90B7628C-6448-4973-BB2F-FB57236678DE}" dt="2023-08-08T08:43:09.299" v="155" actId="255"/>
        <pc:sldMkLst>
          <pc:docMk/>
          <pc:sldMk cId="2067742362" sldId="256"/>
        </pc:sldMkLst>
        <pc:spChg chg="mod">
          <ac:chgData name="Khun Rathana" userId="6ced10f0-cab2-4c96-b3fc-43eb9cf359ac" providerId="ADAL" clId="{90B7628C-6448-4973-BB2F-FB57236678DE}" dt="2023-08-08T08:43:09.299" v="155" actId="255"/>
          <ac:spMkLst>
            <pc:docMk/>
            <pc:sldMk cId="2067742362" sldId="256"/>
            <ac:spMk id="3" creationId="{8472A74C-BD74-22F0-0C10-058496E4791E}"/>
          </ac:spMkLst>
        </pc:spChg>
      </pc:sldChg>
      <pc:sldChg chg="del">
        <pc:chgData name="Khun Rathana" userId="6ced10f0-cab2-4c96-b3fc-43eb9cf359ac" providerId="ADAL" clId="{90B7628C-6448-4973-BB2F-FB57236678DE}" dt="2023-08-08T06:48:37.490" v="11" actId="47"/>
        <pc:sldMkLst>
          <pc:docMk/>
          <pc:sldMk cId="2596954639" sldId="259"/>
        </pc:sldMkLst>
      </pc:sldChg>
      <pc:sldChg chg="del">
        <pc:chgData name="Khun Rathana" userId="6ced10f0-cab2-4c96-b3fc-43eb9cf359ac" providerId="ADAL" clId="{90B7628C-6448-4973-BB2F-FB57236678DE}" dt="2023-08-08T08:31:14.768" v="46" actId="47"/>
        <pc:sldMkLst>
          <pc:docMk/>
          <pc:sldMk cId="894410831" sldId="265"/>
        </pc:sldMkLst>
      </pc:sldChg>
      <pc:sldChg chg="del">
        <pc:chgData name="Khun Rathana" userId="6ced10f0-cab2-4c96-b3fc-43eb9cf359ac" providerId="ADAL" clId="{90B7628C-6448-4973-BB2F-FB57236678DE}" dt="2023-08-08T08:32:34.076" v="101" actId="47"/>
        <pc:sldMkLst>
          <pc:docMk/>
          <pc:sldMk cId="4141132673" sldId="272"/>
        </pc:sldMkLst>
      </pc:sldChg>
      <pc:sldChg chg="del ord">
        <pc:chgData name="Khun Rathana" userId="6ced10f0-cab2-4c96-b3fc-43eb9cf359ac" providerId="ADAL" clId="{90B7628C-6448-4973-BB2F-FB57236678DE}" dt="2023-08-08T08:31:22.527" v="47" actId="47"/>
        <pc:sldMkLst>
          <pc:docMk/>
          <pc:sldMk cId="227047810" sldId="276"/>
        </pc:sldMkLst>
      </pc:sldChg>
      <pc:sldChg chg="del">
        <pc:chgData name="Khun Rathana" userId="6ced10f0-cab2-4c96-b3fc-43eb9cf359ac" providerId="ADAL" clId="{90B7628C-6448-4973-BB2F-FB57236678DE}" dt="2023-08-08T06:50:47.325" v="19" actId="47"/>
        <pc:sldMkLst>
          <pc:docMk/>
          <pc:sldMk cId="1899345106" sldId="277"/>
        </pc:sldMkLst>
      </pc:sldChg>
      <pc:sldChg chg="del">
        <pc:chgData name="Khun Rathana" userId="6ced10f0-cab2-4c96-b3fc-43eb9cf359ac" providerId="ADAL" clId="{90B7628C-6448-4973-BB2F-FB57236678DE}" dt="2023-08-08T06:48:37.490" v="11" actId="47"/>
        <pc:sldMkLst>
          <pc:docMk/>
          <pc:sldMk cId="1054434855" sldId="502"/>
        </pc:sldMkLst>
      </pc:sldChg>
      <pc:sldChg chg="del">
        <pc:chgData name="Khun Rathana" userId="6ced10f0-cab2-4c96-b3fc-43eb9cf359ac" providerId="ADAL" clId="{90B7628C-6448-4973-BB2F-FB57236678DE}" dt="2023-08-08T08:28:11.356" v="23" actId="47"/>
        <pc:sldMkLst>
          <pc:docMk/>
          <pc:sldMk cId="1676830811" sldId="508"/>
        </pc:sldMkLst>
      </pc:sldChg>
      <pc:sldChg chg="del">
        <pc:chgData name="Khun Rathana" userId="6ced10f0-cab2-4c96-b3fc-43eb9cf359ac" providerId="ADAL" clId="{90B7628C-6448-4973-BB2F-FB57236678DE}" dt="2023-08-08T08:01:05.651" v="21" actId="47"/>
        <pc:sldMkLst>
          <pc:docMk/>
          <pc:sldMk cId="3718069149" sldId="509"/>
        </pc:sldMkLst>
      </pc:sldChg>
      <pc:sldChg chg="del">
        <pc:chgData name="Khun Rathana" userId="6ced10f0-cab2-4c96-b3fc-43eb9cf359ac" providerId="ADAL" clId="{90B7628C-6448-4973-BB2F-FB57236678DE}" dt="2023-08-08T06:48:37.490" v="11" actId="47"/>
        <pc:sldMkLst>
          <pc:docMk/>
          <pc:sldMk cId="1015706438" sldId="517"/>
        </pc:sldMkLst>
      </pc:sldChg>
      <pc:sldChg chg="del">
        <pc:chgData name="Khun Rathana" userId="6ced10f0-cab2-4c96-b3fc-43eb9cf359ac" providerId="ADAL" clId="{90B7628C-6448-4973-BB2F-FB57236678DE}" dt="2023-08-08T06:51:04.894" v="20" actId="47"/>
        <pc:sldMkLst>
          <pc:docMk/>
          <pc:sldMk cId="1949879321" sldId="523"/>
        </pc:sldMkLst>
      </pc:sldChg>
      <pc:sldChg chg="del">
        <pc:chgData name="Khun Rathana" userId="6ced10f0-cab2-4c96-b3fc-43eb9cf359ac" providerId="ADAL" clId="{90B7628C-6448-4973-BB2F-FB57236678DE}" dt="2023-08-08T06:50:27.604" v="15" actId="47"/>
        <pc:sldMkLst>
          <pc:docMk/>
          <pc:sldMk cId="3398867391" sldId="524"/>
        </pc:sldMkLst>
      </pc:sldChg>
      <pc:sldChg chg="modSp mod ord">
        <pc:chgData name="Khun Rathana" userId="6ced10f0-cab2-4c96-b3fc-43eb9cf359ac" providerId="ADAL" clId="{90B7628C-6448-4973-BB2F-FB57236678DE}" dt="2023-08-08T08:29:15.363" v="44" actId="1076"/>
        <pc:sldMkLst>
          <pc:docMk/>
          <pc:sldMk cId="2050003216" sldId="525"/>
        </pc:sldMkLst>
        <pc:spChg chg="mod">
          <ac:chgData name="Khun Rathana" userId="6ced10f0-cab2-4c96-b3fc-43eb9cf359ac" providerId="ADAL" clId="{90B7628C-6448-4973-BB2F-FB57236678DE}" dt="2023-08-08T08:29:05.703" v="43" actId="6549"/>
          <ac:spMkLst>
            <pc:docMk/>
            <pc:sldMk cId="2050003216" sldId="525"/>
            <ac:spMk id="5" creationId="{B3AD1913-DA69-A7D9-A20A-F98C2D193440}"/>
          </ac:spMkLst>
        </pc:spChg>
        <pc:picChg chg="mod">
          <ac:chgData name="Khun Rathana" userId="6ced10f0-cab2-4c96-b3fc-43eb9cf359ac" providerId="ADAL" clId="{90B7628C-6448-4973-BB2F-FB57236678DE}" dt="2023-08-08T08:29:15.363" v="44" actId="1076"/>
          <ac:picMkLst>
            <pc:docMk/>
            <pc:sldMk cId="2050003216" sldId="525"/>
            <ac:picMk id="10" creationId="{AC3ABE48-1E70-A3C1-582B-B27EDCABED09}"/>
          </ac:picMkLst>
        </pc:picChg>
      </pc:sldChg>
      <pc:sldChg chg="del">
        <pc:chgData name="Khun Rathana" userId="6ced10f0-cab2-4c96-b3fc-43eb9cf359ac" providerId="ADAL" clId="{90B7628C-6448-4973-BB2F-FB57236678DE}" dt="2023-08-08T06:50:32.262" v="16" actId="47"/>
        <pc:sldMkLst>
          <pc:docMk/>
          <pc:sldMk cId="2050272315" sldId="526"/>
        </pc:sldMkLst>
      </pc:sldChg>
      <pc:sldChg chg="del">
        <pc:chgData name="Khun Rathana" userId="6ced10f0-cab2-4c96-b3fc-43eb9cf359ac" providerId="ADAL" clId="{90B7628C-6448-4973-BB2F-FB57236678DE}" dt="2023-08-08T06:50:33.934" v="17" actId="47"/>
        <pc:sldMkLst>
          <pc:docMk/>
          <pc:sldMk cId="2000953003" sldId="527"/>
        </pc:sldMkLst>
      </pc:sldChg>
      <pc:sldChg chg="modSp del mod">
        <pc:chgData name="Khun Rathana" userId="6ced10f0-cab2-4c96-b3fc-43eb9cf359ac" providerId="ADAL" clId="{90B7628C-6448-4973-BB2F-FB57236678DE}" dt="2023-08-08T08:40:47.728" v="108" actId="47"/>
        <pc:sldMkLst>
          <pc:docMk/>
          <pc:sldMk cId="1439184606" sldId="528"/>
        </pc:sldMkLst>
        <pc:graphicFrameChg chg="modGraphic">
          <ac:chgData name="Khun Rathana" userId="6ced10f0-cab2-4c96-b3fc-43eb9cf359ac" providerId="ADAL" clId="{90B7628C-6448-4973-BB2F-FB57236678DE}" dt="2023-08-08T08:35:45.419" v="104" actId="20577"/>
          <ac:graphicFrameMkLst>
            <pc:docMk/>
            <pc:sldMk cId="1439184606" sldId="528"/>
            <ac:graphicFrameMk id="4" creationId="{E9235483-AC83-4016-08A1-3B33FF398238}"/>
          </ac:graphicFrameMkLst>
        </pc:graphicFrameChg>
      </pc:sldChg>
      <pc:sldChg chg="del">
        <pc:chgData name="Khun Rathana" userId="6ced10f0-cab2-4c96-b3fc-43eb9cf359ac" providerId="ADAL" clId="{90B7628C-6448-4973-BB2F-FB57236678DE}" dt="2023-08-08T06:50:13.917" v="13" actId="47"/>
        <pc:sldMkLst>
          <pc:docMk/>
          <pc:sldMk cId="2112134788" sldId="531"/>
        </pc:sldMkLst>
      </pc:sldChg>
      <pc:sldChg chg="del">
        <pc:chgData name="Khun Rathana" userId="6ced10f0-cab2-4c96-b3fc-43eb9cf359ac" providerId="ADAL" clId="{90B7628C-6448-4973-BB2F-FB57236678DE}" dt="2023-08-08T06:50:40.563" v="18" actId="47"/>
        <pc:sldMkLst>
          <pc:docMk/>
          <pc:sldMk cId="3792552155" sldId="533"/>
        </pc:sldMkLst>
      </pc:sldChg>
      <pc:sldChg chg="del">
        <pc:chgData name="Khun Rathana" userId="6ced10f0-cab2-4c96-b3fc-43eb9cf359ac" providerId="ADAL" clId="{90B7628C-6448-4973-BB2F-FB57236678DE}" dt="2023-08-08T06:50:15.572" v="14" actId="47"/>
        <pc:sldMkLst>
          <pc:docMk/>
          <pc:sldMk cId="3161699815" sldId="534"/>
        </pc:sldMkLst>
      </pc:sldChg>
      <pc:sldChg chg="del">
        <pc:chgData name="Khun Rathana" userId="6ced10f0-cab2-4c96-b3fc-43eb9cf359ac" providerId="ADAL" clId="{90B7628C-6448-4973-BB2F-FB57236678DE}" dt="2023-08-08T06:48:43.777" v="12" actId="47"/>
        <pc:sldMkLst>
          <pc:docMk/>
          <pc:sldMk cId="3530311330" sldId="535"/>
        </pc:sldMkLst>
      </pc:sldChg>
      <pc:sldChg chg="del">
        <pc:chgData name="Khun Rathana" userId="6ced10f0-cab2-4c96-b3fc-43eb9cf359ac" providerId="ADAL" clId="{90B7628C-6448-4973-BB2F-FB57236678DE}" dt="2023-08-08T06:48:37.490" v="11" actId="47"/>
        <pc:sldMkLst>
          <pc:docMk/>
          <pc:sldMk cId="4166314904" sldId="536"/>
        </pc:sldMkLst>
      </pc:sldChg>
      <pc:sldChg chg="modSp mod">
        <pc:chgData name="Khun Rathana" userId="6ced10f0-cab2-4c96-b3fc-43eb9cf359ac" providerId="ADAL" clId="{90B7628C-6448-4973-BB2F-FB57236678DE}" dt="2023-08-08T06:48:16.776" v="10" actId="14100"/>
        <pc:sldMkLst>
          <pc:docMk/>
          <pc:sldMk cId="1148898853" sldId="635"/>
        </pc:sldMkLst>
        <pc:spChg chg="mod">
          <ac:chgData name="Khun Rathana" userId="6ced10f0-cab2-4c96-b3fc-43eb9cf359ac" providerId="ADAL" clId="{90B7628C-6448-4973-BB2F-FB57236678DE}" dt="2023-08-08T06:48:16.776" v="10" actId="14100"/>
          <ac:spMkLst>
            <pc:docMk/>
            <pc:sldMk cId="1148898853" sldId="635"/>
            <ac:spMk id="110" creationId="{3A9742C4-CDD6-2299-A103-969BC6F1E2E9}"/>
          </ac:spMkLst>
        </pc:spChg>
      </pc:sldChg>
      <pc:sldChg chg="modSp add mod">
        <pc:chgData name="Khun Rathana" userId="6ced10f0-cab2-4c96-b3fc-43eb9cf359ac" providerId="ADAL" clId="{90B7628C-6448-4973-BB2F-FB57236678DE}" dt="2023-08-08T08:42:31.696" v="154" actId="2710"/>
        <pc:sldMkLst>
          <pc:docMk/>
          <pc:sldMk cId="315276551" sldId="2897"/>
        </pc:sldMkLst>
        <pc:spChg chg="mod">
          <ac:chgData name="Khun Rathana" userId="6ced10f0-cab2-4c96-b3fc-43eb9cf359ac" providerId="ADAL" clId="{90B7628C-6448-4973-BB2F-FB57236678DE}" dt="2023-08-08T08:42:31.696" v="154" actId="2710"/>
          <ac:spMkLst>
            <pc:docMk/>
            <pc:sldMk cId="315276551" sldId="2897"/>
            <ac:spMk id="2" creationId="{E97F4695-CF8B-EB43-1122-787C02F07C44}"/>
          </ac:spMkLst>
        </pc:spChg>
        <pc:spChg chg="mod">
          <ac:chgData name="Khun Rathana" userId="6ced10f0-cab2-4c96-b3fc-43eb9cf359ac" providerId="ADAL" clId="{90B7628C-6448-4973-BB2F-FB57236678DE}" dt="2023-08-08T08:41:14.970" v="109" actId="1076"/>
          <ac:spMkLst>
            <pc:docMk/>
            <pc:sldMk cId="315276551" sldId="2897"/>
            <ac:spMk id="32" creationId="{8F4752AC-4D66-DC2B-3C6B-87DA7BE4912B}"/>
          </ac:spMkLst>
        </pc:spChg>
        <pc:cxnChg chg="mod">
          <ac:chgData name="Khun Rathana" userId="6ced10f0-cab2-4c96-b3fc-43eb9cf359ac" providerId="ADAL" clId="{90B7628C-6448-4973-BB2F-FB57236678DE}" dt="2023-08-08T08:42:31.696" v="154" actId="2710"/>
          <ac:cxnSpMkLst>
            <pc:docMk/>
            <pc:sldMk cId="315276551" sldId="2897"/>
            <ac:cxnSpMk id="11" creationId="{484C49B7-587C-0BBF-3317-E60AC78E539F}"/>
          </ac:cxnSpMkLst>
        </pc:cxnChg>
      </pc:sldChg>
      <pc:sldChg chg="modSp mod">
        <pc:chgData name="Khun Rathana" userId="6ced10f0-cab2-4c96-b3fc-43eb9cf359ac" providerId="ADAL" clId="{90B7628C-6448-4973-BB2F-FB57236678DE}" dt="2023-08-08T06:48:05.388" v="9" actId="14100"/>
        <pc:sldMkLst>
          <pc:docMk/>
          <pc:sldMk cId="715851935" sldId="2898"/>
        </pc:sldMkLst>
        <pc:spChg chg="mod">
          <ac:chgData name="Khun Rathana" userId="6ced10f0-cab2-4c96-b3fc-43eb9cf359ac" providerId="ADAL" clId="{90B7628C-6448-4973-BB2F-FB57236678DE}" dt="2023-08-08T06:48:05.388" v="9" actId="14100"/>
          <ac:spMkLst>
            <pc:docMk/>
            <pc:sldMk cId="715851935" sldId="2898"/>
            <ac:spMk id="4" creationId="{072E6F9B-A207-5476-ED62-E200EF8AF801}"/>
          </ac:spMkLst>
        </pc:spChg>
      </pc:sldChg>
      <pc:sldChg chg="modSp mod">
        <pc:chgData name="Khun Rathana" userId="6ced10f0-cab2-4c96-b3fc-43eb9cf359ac" providerId="ADAL" clId="{90B7628C-6448-4973-BB2F-FB57236678DE}" dt="2023-08-08T08:30:34.366" v="45" actId="14100"/>
        <pc:sldMkLst>
          <pc:docMk/>
          <pc:sldMk cId="2048429217" sldId="2899"/>
        </pc:sldMkLst>
        <pc:spChg chg="mod">
          <ac:chgData name="Khun Rathana" userId="6ced10f0-cab2-4c96-b3fc-43eb9cf359ac" providerId="ADAL" clId="{90B7628C-6448-4973-BB2F-FB57236678DE}" dt="2023-08-08T08:30:34.366" v="45" actId="14100"/>
          <ac:spMkLst>
            <pc:docMk/>
            <pc:sldMk cId="2048429217" sldId="2899"/>
            <ac:spMk id="2" creationId="{C716BA54-FC49-A2A9-9840-54B2F76B0FF4}"/>
          </ac:spMkLst>
        </pc:spChg>
      </pc:sldChg>
      <pc:sldChg chg="modSp new mod">
        <pc:chgData name="Khun Rathana" userId="6ced10f0-cab2-4c96-b3fc-43eb9cf359ac" providerId="ADAL" clId="{90B7628C-6448-4973-BB2F-FB57236678DE}" dt="2023-08-09T02:09:22.719" v="196" actId="20577"/>
        <pc:sldMkLst>
          <pc:docMk/>
          <pc:sldMk cId="3644657697" sldId="2900"/>
        </pc:sldMkLst>
        <pc:spChg chg="mod">
          <ac:chgData name="Khun Rathana" userId="6ced10f0-cab2-4c96-b3fc-43eb9cf359ac" providerId="ADAL" clId="{90B7628C-6448-4973-BB2F-FB57236678DE}" dt="2023-08-08T08:32:06.331" v="100" actId="20577"/>
          <ac:spMkLst>
            <pc:docMk/>
            <pc:sldMk cId="3644657697" sldId="2900"/>
            <ac:spMk id="2" creationId="{EBCE8C2A-2989-7F7F-15B8-59665380E95C}"/>
          </ac:spMkLst>
        </pc:spChg>
        <pc:spChg chg="mod">
          <ac:chgData name="Khun Rathana" userId="6ced10f0-cab2-4c96-b3fc-43eb9cf359ac" providerId="ADAL" clId="{90B7628C-6448-4973-BB2F-FB57236678DE}" dt="2023-08-09T02:09:22.719" v="196" actId="20577"/>
          <ac:spMkLst>
            <pc:docMk/>
            <pc:sldMk cId="3644657697" sldId="2900"/>
            <ac:spMk id="3" creationId="{4CC3A59A-7F22-0881-7888-FFA78B45448C}"/>
          </ac:spMkLst>
        </pc:spChg>
      </pc:sldChg>
      <pc:sldChg chg="del">
        <pc:chgData name="Khun Rathana" userId="6ced10f0-cab2-4c96-b3fc-43eb9cf359ac" providerId="ADAL" clId="{90B7628C-6448-4973-BB2F-FB57236678DE}" dt="2023-08-08T06:48:37.490" v="11" actId="47"/>
        <pc:sldMkLst>
          <pc:docMk/>
          <pc:sldMk cId="4139483108" sldId="2900"/>
        </pc:sldMkLst>
      </pc:sldChg>
    </pc:docChg>
  </pc:docChgLst>
</pc:chgInfo>
</file>

<file path=ppt/charts/_rels/chartEx1.xml.rels><?xml version="1.0" encoding="UTF-8" standalone="yes"?>
<Relationships xmlns="http://schemas.openxmlformats.org/package/2006/relationships"><Relationship Id="rId3" Type="http://schemas.microsoft.com/office/2011/relationships/chartColorStyle" Target="colors1.xml"/><Relationship Id="rId2" Type="http://schemas.microsoft.com/office/2011/relationships/chartStyle" Target="style1.xml"/><Relationship Id="rId1" Type="http://schemas.openxmlformats.org/officeDocument/2006/relationships/oleObject" Target="file:///C:\1.FHI360_EpiC\3.Strategic%20Information\Maps\Cambodia%20Excel%20Maps%20-%20Copy.xlsx" TargetMode="External"/></Relationships>
</file>

<file path=ppt/charts/chartEx1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Data>
    <cx:externalData r:id="rId1" cx:autoUpdate="0"/>
    <cx:data id="0">
      <cx:strDim type="cat">
        <cx:f>sample!$A$3:$A$27</cx:f>
        <cx:nf>sample!$A$2</cx:nf>
        <cx:lvl ptCount="25" name="Province">
          <cx:pt idx="0">Banteay Meanchey</cx:pt>
          <cx:pt idx="1">Battambang</cx:pt>
          <cx:pt idx="2">Kampong Cham</cx:pt>
          <cx:pt idx="3">Kampong Chhnang</cx:pt>
          <cx:pt idx="4">Kampong Speu</cx:pt>
          <cx:pt idx="5">Kampong Thom</cx:pt>
          <cx:pt idx="6">Kampot</cx:pt>
          <cx:pt idx="7">Kandal</cx:pt>
          <cx:pt idx="8">Kep</cx:pt>
          <cx:pt idx="9">Koh Kong</cx:pt>
          <cx:pt idx="10">Kratie</cx:pt>
          <cx:pt idx="11">Mondul Kiri</cx:pt>
          <cx:pt idx="12">Oddar Meanchey</cx:pt>
          <cx:pt idx="13">Pailin</cx:pt>
          <cx:pt idx="14">Phnom Penh</cx:pt>
          <cx:pt idx="15">Preah Sihanouk</cx:pt>
          <cx:pt idx="16">Preah Vihear</cx:pt>
          <cx:pt idx="17">Prey Veng</cx:pt>
          <cx:pt idx="18">Pursat</cx:pt>
          <cx:pt idx="19">Ratanakiri</cx:pt>
          <cx:pt idx="20">Siem Reap</cx:pt>
          <cx:pt idx="21">Stung Treng</cx:pt>
          <cx:pt idx="22">Svay Rieng</cx:pt>
          <cx:pt idx="23">Takeo</cx:pt>
          <cx:pt idx="24">Tbong Khmum</cx:pt>
        </cx:lvl>
      </cx:strDim>
      <cx:numDim type="colorVal">
        <cx:f>sample!$B$3:$B$27</cx:f>
        <cx:nf>sample!$B$2</cx:nf>
        <cx:lvl ptCount="25" formatCode="General" name="Data">
          <cx:pt idx="0">2</cx:pt>
          <cx:pt idx="1">2</cx:pt>
          <cx:pt idx="2">0</cx:pt>
          <cx:pt idx="3">0</cx:pt>
          <cx:pt idx="4">0</cx:pt>
          <cx:pt idx="5">2</cx:pt>
          <cx:pt idx="6">0</cx:pt>
          <cx:pt idx="7">0</cx:pt>
          <cx:pt idx="8">0</cx:pt>
          <cx:pt idx="9">0</cx:pt>
          <cx:pt idx="10">0</cx:pt>
          <cx:pt idx="11">0</cx:pt>
          <cx:pt idx="12">0</cx:pt>
          <cx:pt idx="13">0</cx:pt>
          <cx:pt idx="14">2</cx:pt>
          <cx:pt idx="15">2</cx:pt>
          <cx:pt idx="16">0</cx:pt>
          <cx:pt idx="17">0</cx:pt>
          <cx:pt idx="18">0</cx:pt>
          <cx:pt idx="19">0</cx:pt>
          <cx:pt idx="20">2</cx:pt>
          <cx:pt idx="21">0</cx:pt>
          <cx:pt idx="22">2</cx:pt>
          <cx:pt idx="23">0</cx:pt>
          <cx:pt idx="24">0</cx:pt>
        </cx:lvl>
      </cx:numDim>
    </cx:data>
  </cx:chartData>
  <cx:chart>
    <cx:title pos="t" align="ctr" overlay="0">
      <cx:tx>
        <cx:rich>
          <a:bodyPr spcFirstLastPara="1" vertOverflow="ellipsis" horzOverflow="overflow" wrap="square" lIns="0" tIns="0" rIns="0" bIns="0" anchor="ctr" anchorCtr="1"/>
          <a:lstStyle/>
          <a:p>
            <a:pPr algn="ctr" rtl="0">
              <a:spcBef>
                <a:spcPts val="600"/>
              </a:spcBef>
              <a:spcAft>
                <a:spcPts val="600"/>
              </a:spcAft>
              <a:defRPr sz="2000">
                <a:latin typeface="Daytona Condensed" panose="020B0506030503040204" pitchFamily="34" charset="0"/>
                <a:ea typeface="Daytona Condensed" panose="020B0506030503040204" pitchFamily="34" charset="0"/>
                <a:cs typeface="Daytona Condensed" panose="020B0506030503040204" pitchFamily="34" charset="0"/>
              </a:defRPr>
            </a:pPr>
            <a:r>
              <a:rPr lang="km-KH" sz="1600" b="1" kern="1200" dirty="0">
                <a:solidFill>
                  <a:srgbClr val="002060"/>
                </a:solidFill>
                <a:effectLst/>
                <a:latin typeface="Khmer OS Content" panose="02000500000000020004" pitchFamily="2" charset="0"/>
                <a:ea typeface="+mj-ea"/>
                <a:cs typeface="Khmer OS Content" panose="02000500000000020004" pitchFamily="2" charset="0"/>
              </a:rPr>
              <a:t>ខេត្តដែលកំពុងបានអនុវត្ត </a:t>
            </a:r>
            <a:r>
              <a:rPr lang="en-US" sz="1600" b="1" kern="1200" dirty="0" err="1">
                <a:solidFill>
                  <a:srgbClr val="002060"/>
                </a:solidFill>
                <a:effectLst/>
                <a:latin typeface="Khmer OS Content" panose="02000500000000020004" pitchFamily="2" charset="0"/>
                <a:ea typeface="+mj-ea"/>
                <a:cs typeface="Khmer OS Content" panose="02000500000000020004" pitchFamily="2" charset="0"/>
              </a:rPr>
              <a:t>CLM</a:t>
            </a:r>
            <a:endParaRPr lang="en-US" sz="1800" b="0" i="0" u="none" strike="noStrike" baseline="0" dirty="0">
              <a:solidFill>
                <a:schemeClr val="tx1"/>
              </a:solidFill>
              <a:latin typeface="Daytona Condensed" panose="020B0506030503040204" pitchFamily="34" charset="0"/>
              <a:cs typeface="Khmer OS Battambang" panose="02000500000000020004" pitchFamily="2" charset="0"/>
            </a:endParaRPr>
          </a:p>
        </cx:rich>
      </cx:tx>
    </cx:title>
    <cx:plotArea>
      <cx:plotAreaRegion>
        <cx:series layoutId="regionMap" uniqueId="{95A1E946-CAF0-4A43-B07F-047B487C4EFB}">
          <cx:tx>
            <cx:txData>
              <cx:f>sample!$B$2</cx:f>
              <cx:v>Data</cx:v>
            </cx:txData>
          </cx:tx>
          <cx:dataPt idx="5">
            <cx:spPr>
              <a:solidFill>
                <a:srgbClr val="4472C4">
                  <a:lumMod val="20000"/>
                  <a:lumOff val="80000"/>
                </a:srgbClr>
              </a:solidFill>
              <a:ln>
                <a:solidFill>
                  <a:srgbClr val="E7E6E6">
                    <a:lumMod val="75000"/>
                  </a:srgbClr>
                </a:solidFill>
              </a:ln>
            </cx:spPr>
          </cx:dataPt>
          <cx:dataPt idx="6">
            <cx:spPr>
              <a:solidFill>
                <a:srgbClr val="4472C4">
                  <a:lumMod val="75000"/>
                </a:srgbClr>
              </a:solidFill>
            </cx:spPr>
          </cx:dataPt>
          <cx:dataLabels>
            <cx:txPr>
              <a:bodyPr vertOverflow="overflow" horzOverflow="overflow" wrap="square" lIns="0" tIns="0" rIns="0" bIns="0"/>
              <a:lstStyle/>
              <a:p>
                <a:pPr algn="ctr" rtl="0">
                  <a:defRPr sz="1131" b="0" i="0">
                    <a:solidFill>
                      <a:srgbClr val="595959"/>
                    </a:solidFill>
                    <a:latin typeface="Daytona Condensed" panose="020B0506030503040204" pitchFamily="34" charset="0"/>
                    <a:ea typeface="Daytona Condensed" panose="020B0506030503040204" pitchFamily="34" charset="0"/>
                    <a:cs typeface="Daytona Condensed" panose="020B0506030503040204" pitchFamily="34" charset="0"/>
                  </a:defRPr>
                </a:pPr>
                <a:endParaRPr lang="en-US">
                  <a:latin typeface="Daytona Condensed" panose="020B0506030503040204" pitchFamily="34" charset="0"/>
                </a:endParaRPr>
              </a:p>
            </cx:txPr>
            <cx:visibility seriesName="0" categoryName="1" value="0"/>
            <cx:separator>, </cx:separator>
          </cx:dataLabels>
          <cx:dataId val="0"/>
          <cx:layoutPr>
            <cx:geography cultureLanguage="en-US" cultureRegion="US" attribution="Powered by Bing">
              <cx:geoCache provider="{E9337A44-BEBE-4D9F-B70C-5C5E7DAFC167}">
                <cx:binary>5Hxpb924su1fCfL5yc2Z4sE5B3iUtAdvz0Pi5Ivg2I6okRqo8dff2km7O9ntdNJALvCCZwRObIlb
FBeratWqYv79MP3roXi6b19NZVF1/3qY/vPaOFf/67ffugfzVN53R2X60NrOfnRHD7b8zX78mD48
/fbY3o9plfxGEGa/PZj71j1Nr//7b/i05Mme2Id7l9rqsn9q56unri9c9zfXXrz06v6xTKsw7Vyb
Pjj8n9f6vnJP9/Or06f7CmY2v371VLnUzTdz/fSf11/d/frVb4ef+Zfnvypgiq5/hLGYHkkklKCc
KkzgO3/9qrBV8nwZ0SN4S6yQkNQnPibPjz67L2H4P5nYp2ndPz62T10Hb/jp75c+4avXgRtOX796
sH3l9suZwMr+53VwX36wj+n961dpZ4PP1wK7f53d5tP7//Y1Fv/998EvYEUOfvMFXIfL971Lf0Fr
d1893hfPC/UTMMJHjBCufJ/6PhKYAwhfYcQBIwkQYd9Xgvns+dGfMfr+dF5G5nncAR678FfDQ987
BzvmvkqeF+YnYEKOlE8YQr5iWHBE1QEmYDdKEiWF8BmXiD4/+tlufmRKL+Py5escYKP1r4bN7r6s
wd28Csx9+bxEPwUdDAaDJaNMKEJ9WP4DiyGSEnB5lEtGMID32aE+W8yPTeplfL5+pQOEdr+gN3te
DFP9bBPCggmGqY8oRogfmhA74tyXEJiEJD7H4lsgfXde38Pp9w84hCr45Yyphbj+9LxMP8WMBGHK
p/IQGnGEBbg/yvDz0363nO/O4BtY/D7uEIKrXw6C3/3Zdf3UPy/NTwACHwEzo0pyogQiiMOyf+XP
2BEBN0cQ4Rgs6q8M4LMJf29S38Dmq1c6ROj6V0PowlS2fHXxVJmfi4+gmCFfKPguyCGLZke+4BT7
BIyJqkN8fmxKL6Pz5dgDbC4ufjVsPoVO9xNxQUdSCUEwPaTM7Igi4NPSV2j/dejG9lv+b+fxMhjP
8z8AYvd/f0kggJbdGPtzaZlPiC+VhFyT77nxgRuDRIYxJDnChKC/kOZnYvW9Sf0NNn+80iFCN78a
Qhft0715dZ2a+8r2+U81GV9xBrQLqBdwZHZoOfQIMCSIcR/8GJXg6b6kzj8+rZdROhx/gNPFLxdu
dk/18wr9BB6AjoABcARJ5Se3tfdbBzyAcuDTEgFqX8LynVm8jMWnQQcA7KJfzVB21rzaQYr5vCA/
AQVgY8RXFIu/2gZQAIkZeTmq/MBMvoHEHyMP4dj9anCc2uqxL17t0jb9iYiQo73QwhnA8vnrwC7E
kVII5LGDHPLzZPLvzOVlTL4ce4DK6S+HyvnjI8jg/wvyMoNEkTNEqTxABHRnIAIc8svnbfA5g/zx
mbwMy+H4A2jOfzn95eI+LdLqeZF+gvciR74kUijKuZRUkUMSRo4EpZDdEw4KpuAHJvP96byMy/O4
Azwufjlq/JmhvEkNFI5+IipgDwqcF99H7q9COnBixOEaPTCUH53HN+D4RB+f3+IQlDe/WlSBxZhf
vXn6yVEelEeQHgnz/b0H+yswjDAGaSSTWEBO87wZPvuxH5rRN7F5fplDYN79csD0bXf/t5n0P6xX
kiMqlJJ7LUVIcFKHyj4F7wWOCxzYS7WwC9s7k35nRt9A5c+hh6jc/mqo3NznT/Z5v/6EkIKOFENg
LOKv+YiPOVw7JF7fncDLGPw+7GD9b345unV17+6r++/xzn9oGfsIQqBEDKWUT1+HWMgj5HO4TvEz
Rf4yQ/yxKb0My5djD7C5+uWwuU6fyldXT/c/M22nR0xSLhTIwxDiMT4kwwwK+D4QZf5ZkgTkvoTm
h2b0MjJfDD0A5vqXS+SvXb+X79qfG+VBzkJEEvwX3gUlLhAiEUUHCtcPTuMbeHz5DoeI/HIa5PUA
PUlX6c8FBB9hvm+cwJRRBc0VQHsP+LAvMBTBpA/1LnrYkPRjU/oGOF+8ziE2V79ciP+wb6vYmbL/
mQI+PlKUCMVApX8xxvAjKKhAlxJ7UQC7+QC9Wj8wqZfh+Xr0AUA3+v91gL7Zw/bZ1X9mYV/d9E9b
+UAEwxjEFpDn9wmJOCzasyPoiOECzIpA29JhEfLPprpvT+hlYP4c+dX0//f79L7dw/dHy2MITCv6
1Cv5RRvf31/99JLQyXkw9PeQ/CJb/rxi28f/vPakgoXHVEoI4n90Yu4/6quQ/mXV9huDn+47B/2Z
CPJ/aC9jgkq2Zw6QhY5Pn68wwJtAqYYC4kwggLuyrTMwCB9JKsBOQU7wgZUruNTt05dPl6CXELJW
sFLGCWb+H52rF7aYE1v9sTi///yq6ssLm1au+89r6D54/ar+fN/+bSUQGhBVlc/BLcCW+hQs64f7
K2iPhdvx/yE9SovFJWRjiuxyJpJFcb6Eea6Om9m/hbiruyxtw47PV31SXDi/iFCXW52rJcQzOh/T
bDVJ/9TG3KyK1uzGaTkTLLObSaBhm4ikPbeIJlotg9kkce8f+0lXalzgY9P7g66EZNoWfq1jg4vA
VIUJejCTaJmeeJWcFWVpAkfn90vevnF1OehuJEHDGk2SodjmNK00deq4ROOi7TAvQTlUoRrt8cTT
t3TBbTAMI42SiQQ1n5aornKzKlFahrxXrZ6RI1tZTCjgMb9AWTWEGSV10DbeiqTpqpvreS3Hnmo7
9VbzsTwr0/GkWKrkuPeba6bGMUAMJWtXJ6dJl/SBj9sC7p7XrPqYjP05kqrRLG6nYDEeD3HZ01VF
qyxIWOy0idnZkmYkTFv6oY9hxcVQrmIiLxhoGydLTcoAqWLSsSyKsB5dG/a4OaXzWAVoHreNmp46
w03orGguM5sXQZ1OTWBNJiPXTJnOSrLsPCei3s1dOCJxQUUXjdJfTUl3NjOhPZsHpkuiBJbVV4XO
Ehx4i416KSJG/bMJVqtc8kTzeNr5KNVKmiRU3N/ZBOlJ9NeenNZ8GU6px1ngWnGasXo7x9gPu7mI
1OKLgIjhqlekDHvRn9i8DzvBb2w+rbo+CfLGi1x1oXI26MZhpVVSZyeoXtL1nGZh7zUng3g7pH6U
kBEma/1QNGUdVF0fdJV33Qz8BvfVudcVgZ+UwYiTs3SSF2SiYVE9pP2yTghLNFr8bVsMx2L0g4Sb
gObZiTepKKfLsZP2KhtZrt2iHq2l0TiN17PvruYu0eMw3MA2jGK8rEdrNi0btfS7WzKlui38y6a2
i/a8Ume5u0ILWwvrcCAtPm4He9lPlgbGH04Vgc9qkLea2lmXeNqkRbkqOtVrk/sRbCPtTBP0qRfx
LjtvKXSZpzg5sSPaFpS/Y7WLUuKf4VFFrFrW/SRCPCSBSOzaEQM/2yBnVegkvXDdHLm6Wrcx0XFJ
wrriOpGDTrxRz9OyI+mySVm+wna8mhoeZKgOek7Pq6bT1dKG2TJoL//QCj+qpmbNcKF9v1whZNZZ
PuuCuVvcJmC7JrTUbWokj1OPXczJHFSZWMfzVSHfJI6e5K1YTeMHksyRqdNgKaerJTVnPJmuZC1h
xVi/X9JgnkmY03kzLf0xG5FGRbvtxI3txbqQ2fuxelP1Y6c9NOpq7LeWza0ei6Q8piUL5Xicw16v
DF0l3RLWtVtZNJzmxRIN/MGmo84a0UHLIDj93+PSVw71wdZzmybm99MAf/z43xtbwp9PY/785f4w
wZ8/rZ/sXlTsDm/aP+ePu/7sad9Hmz8mcRDFPp9I+EaI+9uL/zD+CRDmvh3/nls5AvNV8+ZXEXT/
Cc9BEKgLAiFJwFEFSkFQ+jIIYglBEtqrmPzcJPocBKGOgaC+ATkEAjoq90rhn0FQQnbBFJQ4pKLQ
n/1PgiD0e/81CEJElQxxipgg+27JL4Mg80q/FpXAG8oSqUfnojnB22Hud31eX3pmeue1nq/RVN7M
ojuWZAxzwmUwu2WNp/KsEfIGK+mF1jYQzPyk133vQlnzTTaA2SBT0pVDfjSLegmzIYe9mz9lSdME
S2ojs5RGe6XdjjS+6ht6k5bVyeyrKzOAWVasbLWPypulJ0p3sQxIPFy7vP7oqXEJvSX7aJRo9RJX
p8PUnMoBrchibNCjPmq5Z49rBG6FzZnR5STuymyh4LJ5r8t4ukjjET59JudUeLVWlji9lGBkXeen
keLT06zcppNoNTb1HKbeSFdljWrNuzrVjQLrrSk7zUp0PLruJCllF/QjvkoLsx5n0QcqndpIdaON
htGZq6zl/tp4MgsbkOWP6zJBa1kSF0282TqRLaFfZY22cT6cCO6b0POy931aY63y9rItwTcCP94J
VWzqLr2VeLw1vdlh128aJzZxJVY4IWs3o6uOlSwolsnooadPqvKb7ejbLJKxYkGVFJ7Oqyk5hQ6Z
y2Lqdjlm57EZpilIFtqFEtzxtu/wsLIuEal26UADP+8guJnpDDmU6UmKlerHN4y3216xHaciiUYT
X/nxsu1Z5wV2kPWliK063RM3PYzgaKvqvpaLDGhKn+bFDqssKR7MaO7tXN6ZQphNroRZ0XnvbtvW
6YJUNKD9EgyZF81pvMn9au0xbzUoewe98W8qP1+3Aq+AqJ00mbrIC7PqEGtCpZZUy24IC768G6tS
j0t9PfQoyGh3gcsyAia0Hmn+MCD/HdjutmrLqFukjqt6I4CpSOu/G1vyoSvGLUrMaT7PmcYKtkCV
P5m8+zi59oGj7q4ypacXln7MXHujPLhLoDkPkqZ+03jxruRxq4lMqihnfhs1g8f14OxG0u6yyJvQ
1sKGtajPyKJuigkGjGO7zpZ41zNfBWPe3KhG2SBulNOunyZtmfnAXe7pMa7fttX4oevrY1zxNwYC
bFDDUuilXcB4KleuqcEDDiZU1OdOMDOF/VC3Zwnl+eWExyxcSosuJp+2pxx2ZTD6vNSdQsVqiDse
uDJl7/qUJomukHmPEa71VC9GC5nB3Jqh0Mu8ON0YlB9bN60ayL+1rNM5nEgDw8VG9NXxnuB4I+z2
vbGPpn/LBTy6wXjD+ibZimm+G1WbbVNmRl32dafzNn2cfO8W9o4NMBxTC1CJ8lCArTUSxWs0RLRH
YZVluuhmd925hRxzixGEZkpXbOnPGjyddTnajmVy6jXUQuyvRz3mjAYIZZde4gEbp9cp6W/jJa71
gnJf415dWtd8qDx8bhrx0UvZEKGSdWsPGpsi0sfFpfK6OmgWNwUScU9P0C2o56VQQQnc77j12X0x
LB+mMpsCQjL2SGK/v6DO64DFDnnQeekZUs2ZyfrLvCfR4txjUU1Mc26AA/AyCYe2KXWZdWlUNbbX
mDgvGGt5vwAbmlHFQz6nIiwWJDbIOhZMtAYLY+hp7hleN9i/a5bebp2bWKddQwat5qoKaeayUIp+
58n0TVvWH/2aZjpGqIimUva6xeqSN1l2k6PslKae09xz942IG8gUgAB3YGm6SovbpJ67Y8I7oxVp
Up3NhrzBNs/WcMwLB0m/z5GM88JKeLOu/QrWXspcl0nSRm2emNBPqn7T+e15t6QcsoAxNKTeNMzf
mK65LjIDPm/h6wYtXlDDOUdaTvZ0qBe0QXlZaknNteXNcWfRhyyrVy42H9gg0PGgYNJj3NMANqN4
ky9VFjJD8/dzkfaBNJTvClr2eshTeivKEdbW9/HaDpavEiJOJiuFLmI76r5royUewM+78oyw9Hos
AfAZmWKt6uosxpM7c6M852N917F2WM2ysqHfWqF7Fp8ZSc/dnHaam/ZWTlUR/n9Cvr5SWZ5LBXvq
xNDfca4/ZZo/FYf9iGeOJY+AukApGwnGoFf9C6EBaq57HgVtIft+6X3X2zPHYkfCF3uZFk4nguwn
oLDxzLHQEZQEgV5xOLkDJ3jkP+RYBxTLxwzK8ArY374vmAoQ5b+kWEQW2ZJNg9uUzWDDNI91VzY3
k5yyk75ldttDOqpxPKDQN0W3TXqHAlFDzj4gu2kb7m88HI869scy6lM7hqpLklU9lRe8Bdo/udjq
OJ7gg5au0YVfDOu07+bAVsudnXJ32/OF7xRW0cwmtRtzCEaVLwXcMIDvzkQTZFZsKfhtyHTiXlcZ
L9asi8tIGfe2b+2mijlefQHgC/oLB7i+kl9gWUDpgdOHPoF+XAVE9qtl6QfVl2ljuo1D/Kxlotmk
0vdD0BOMprRPg8ID++sYa8MG4tLu01pZNPMdxkO6ztPmbpjNcYLqc4mNp+2SFOCD7dt0BKGkK9pj
0AJoxDAJphnhMzdQF8JJrnQVY4OiKceXxsXlaeJTE2Rll65J0xDwHESGJeCoaW2qqLRjuqbD/GFu
/WmVjN4dOJniRKHhZOLe1ud0m7CUh4pM+colT4uXQoq42G1Jza2QS37iJgn1rD/yjReWjuyX5kvl
ar90IIDBpkIE1Kv9odovdxQg0qAske2GwbGbHemrKUJNYApXaWh7rgOagLAhfGe3czUPq6Uvw7qA
zNEj97RI0SqthlMsXRa0yXCr4jE588Vm6uZOgx0hLQS8c1XOBVDQygbwzY9AJil0AsetQzfZ393Z
55PML7zQPsn4+n04g8Ml+/N0+4a7fd/Wl+9ToD4jk8HdRu6fLKZ004jWCxGx6bot8ZsyqSBJ4MWm
bAd89veLif2/PpxzAT2xsFagUu61yC8f7gjkK9KrgeqPKt0nOuS4dMVNtQf+08aZl7sho0tYmWzS
JM3YReJUHqLYNpuxmj8KAGCbk2nled5wWjUzEJN+wZ+Pe39zjTCIsIeLxEFJFRxOS2EfzoZ+Pc84
m3hSLTBPWCgSjKO3bE3vhUBTIGQBXzTO90GWmQFn+H8BVkByr2eG0s9p/zenQTH960QUpIzQwgJn
6qE0LCE5/XLBRF2wSi3FuJmS4hhVZyC/TtprqR/2E8oi2IUXsSCNnvrpWGCgIGZpn9qBz2GG+ZnH
3XWSzyC0CUZOxYLFJh/isCELbLysvavkNmPFisr5vbFZGeCmhry0HVelRFvrDXeQh527XJwMHnCK
1G8y3cugFIQcFzPwx7Zl5mSqbtES811dF8O2q8WqtM6PloK2QTFhuTWqeyuGLAnTBeiISbLbJlXt
KsvceBy3+Xhs9v+qq9jXs990EWSMTRnVS5tG0pP1WV/mYZe4oEOQujZ1M4aZFHhLfduEtMzpW8Ln
lU0GozMgbuuZmCJqFi/XHSXVuS0SrtOky4PYsGQ3cjSs6tnkq7hK9Vx2OxDqs0s1j8kbG49RDqFv
NSthA9X7p8PiPlJGrpkwFwv4+W2O2OUskgvIk0pgqH6rQc16V7aiDKt0uitQwlf8w2jaPJxVB/lU
UuTawl4NSh/42YI9E2bWIzo1e/0yx+nGZIKGcW93ec2a1cKqISA4j6Yp9nTZ0VPf1NtlBi00y/tB
kxpyGtnFSGdGGc26kuiE+9dlSz6ygjbaquSyde49BLZsPUnX6LSPNSuQpxWnHzK7NuXUQJZMgnjm
E1iWd5nC2zF5Pcfq0lPkWtLZrQsEzAySURKWA7hyls+nDp7vFZieJ10gpopEdqicVnH3ds6qeJON
7RNq+vtOqikcin4LVYcmIHUNrLP1UOBiB7oZ6KUW2TRsBHubNmtKZnWWJTUQTdWMQL/bM2+p68iV
3jVzNqhIq5N5UeBr8S3B3e1S85OpqDex+xATfl8qVYCOX5swMWQHisVZq7aQv5+XfN4MXCy6dEsW
iL4T0TKyiIliN5spPc2m6t6nk1zHSLz3hgW8twtbN5/ghV7gfj41XvtuUcoFyEtzyKmrW16P/TpL
Iq8yJzVPiyBThdwW3ft+rm8Sm3oQxZQLp5xdOdFnwZgMZQRKTAcJqjSranGQqS/xKXyzO1mZFcu8
92iskwAKNw72Z2cuhsywdUx5DMS7AKFEtfg4NuP7cejseWYgSIsMaK+o0CZJMdGqm9/PKR1WXmJh
kYxvNcn4RdPPO4kfB4ijGpXeAgYhT0cz4qixqg9I4yW6x0WxyhluN3mRxAGjTid+x8+Tdiyi2ciw
8hp/7Rt8xkXhTpBr9dCgXi8EQ1pN5jcT710wefY0LmFeqkwKTRZidN3It2ywsDHzeQzU4CYNU6pG
MZyJUu3QVCSnjV+EZpDnceLRAOojXoD6aWsr9wHUpgY0BpBi5iTPtNnOfbIt5yngifUhJMTtpp80
niAHn/N0xYb6ITP2qcuS6RqDqyrM6OkWLXd8sm9ZCnl54eVjUAs+vPe2orObvIv7bTU3PCRJm68M
w+8mjCZNk+xNroqP3PhzACletun9biPmBR+PlvcwqbbSflEFcRy3b3PU3plsIPvsO0RlKda+HU49
vw2oQWWU+tgLnErrM7Us7ybbRoQs46NrTKFBB7gUlbUaVLsKdPT+7VCP+0pIngR+R07jpQxyn+cb
mbUnbQv7xt0VFTVh6jy2ilNDNPhzAggOjZZeggI6MKi/2Px9BjS26om5JMWZmvGwo1UVTaDI58sl
Qm0RlU3cBDMZSsijndFtbqbVguONk5kN5iqfA9oNjzZGYDkIrQsr30/ltszoXTePHng1ZEPoT9Kd
S8tNnVymtLqS1gOJLD3r0qekEGFeeO16SCmPEtMGZKC5Jqi9nOcKklseLxejDUr4XZvW2ynlduWX
bbG6scUgI1AUXeSWYlUVHMOyPgD19LVv7ZlwKdW9a6tg9C5d5S2aeL4LhwxvWi9vgilxPkRGeVrM
alnFttSIz/UWYmW7xijbdftSYkwYWKnqzzJpkwhnA8TBYm/IIw9NthqEn4ZVzlnY+snbSTXgPZPm
LonQ0E7HUJSRqV17Q4sCrwYBbWnz47gYAyeAq6DkNgNVk/fFGyTltazj61LF9w0oQP2YbeJFvM+l
2qpKFRcQG6Ju6LoQJ7IJXVvyQHosNOdpW4Bh1vOjXxcgybnyXTGnUACe4mAeaqV7aImBfN/vV7hS
TyhzLMJerwnr83Vnk3yLQfjtaXFSTn6zuSibnl4qHzbbcMxHDAEP9WGdszcegcijkuKcSlUFDdT+
tO+5Gy7cqYmzXKMxvmuk1X5FTyfr0E66aCF11BQVXxfgAVZeRba44TfOg6JIkTBQaMZq6w3ymkHJ
cKVye5HPD6725N3CyznE3NuQFComhkCisaSPNMuIlmSpwzg2p6mY2pUvzZVtpvaM+CFX47TiXdVC
PQmPQZ+ZfsXBwoKWz10E/9PKFOBBL7V6b3jXQgkUzSER/trhsT1uV8pScpIUIMdNZrkduhmqiNlb
udfTGBftFkM959SqSUIJF7Y1bAC3tRjqtJ0o1+1kyS5rVBOUidg70fU4EK5tVvjBgPvTacmSk3Hw
CkBbALSsTVek7PluGBd20s/V+xQKiidGDPFJUXfrOh/LdT97cQj11zyEuuwW/PqDMvx9b/14XSLY
sVXii51ywJrGqX4oJIlymRq9F/sI/uiZxQ8yr4t1y+R2RqDRtH5/648DC3zZFBEHXV5jmich6nkf
1DbbNDmH/biA7iSzTgYT+5hNEOById7TrNj2JDVBnI5Qii27LlJFdSkL357WFdR4lwIy5Hr8ODf4
wifgquoiQK18j6f+rPS8XQ+61Lrti0znFLZsg5N1gXN+XPlz9wb6st93JtFAuLyTNPOWC+sPxbof
gVZMbGXr7Fqo/F4lUC0TkCZrKsxtSwZPxwo91mA9Iyd9tNRXXjIjPdfV+9aD6m45Ia0Y2dTTThbo
ik3duIFKsQE5L3mnJnqs2iJ0KL4piyUs+rkP2xZMErrE86CsoDQscVkdJ+l2MTMPK2mdtj15k0AK
AMV0c+lbsGM234F2p2cHYIBsN9C3rehNMPbyBLVLG0DLuS4FvmhQc2588j4b1bvGtzc2fcxV/4RZ
/M4pOkLIonuhM22Omxo9LouF7AFqswUodFVXMSjM3sUC5VBlyfwgJxWK2iH+6JXtA+rdu9zQSX+K
EbNxxzgbRyjYzlHB+RTFYt7hfoFa/zSeeRizCNThOWh9IKuNOVeleYqXcw+P52XVfyi9Jg693vMj
bDOk+VRh6C5gkPeXowFV902jdmaobl3WBR2rWMBt8QA5/+zzS1csHiQaudEg9usGijlBB/IOcDW1
syC1Yw9t42TSMudrhZo58ERXbfkgUj1BeXfHl/wcNYUNR9uGxILWXrdXDttU87y/btIctjR5XIYG
SgfjsRL9LZrju2lhCMpMvAa2uGS6m/CKA8XQg6+8dZ5MF9xfVqiOIZAyX+rew7veQs0dovVZmqgL
rEC35KUtdFrwCxMvu2GSJ3Mzf4gRjdIJXRds/IAkPh6WMQ2Umo6bMoZkQ/BjDCmwtnNOdWGGMUzn
AijORLMAuqllUPTAM/vsnfsf6s5jyXKdW85PRAUJWkw0oNu+fHVX9QRRpw0JkAAdAIJ8+pu7pV+6
JjRQhCaanIjT5Whg1sr8Elu62hh6xVlot0CETwllWB4GbKOYA39Qk7p8NNOtS6InL+l0uXsR3np3
NVRkuerXx8YLsA5k6We8oe0RY7ZUhMPpG0i31RrCqr8N+FOWvJto6qrFpw04FMi80trXcU9Ggwc8
YvKguGwX9bb0eqh2NKsvJlpvdLEBrLdlKqxu0U6seHcafgVfwvZI1+4Igzpd+67Ouggdw5bO0HKi
Moh6XnAlk3wJlKko/dk3a3hUvzbGL3a2NIeY/3vsfLRJa3KQmDt5lFmVw2jxy7nNTjHRl6lf3G2j
fTkr15VhkuQc294idJcnWyDytSGXgfg9FrHsrPG1WmypLOxoiz3eq9YvvXaU2M6zrMpiltTR2sXF
HAaFwbgfJ7nUMkr/9Ol0YRY2QuR6URLlvfjjuB9ntAdhY163Zvreje2DwPqaR0H2qFP1Qba3aFZT
nfX6TCwKI38Qv/hedYn4NTEb53Pc+rkeOSm6QR+yOJ4qz5gbDfrljDD8YWC2v/YhLczIxxI/fQYB
eaYNEcXQPzSUjPm8dwFKOpigw77/M+APACk+bKv/2hi2oANcL1gaqyDb8bu7JC6SdNGVirObUcFY
rH73TfNtyruA7dAX4x7kkj1t67rVKRFPmdu/6yzI8n7zx3K1L3437k/ynEAFozPlRZM241l1I/ab
ZMhtUA1TmJ6CXW95pmOUyzaDBRY87STMyaDBUBj34E2Dd7YbqvgokTrnge6LfuJrKVV/CSf5S7At
qvEKT0nYHJpuvXrx9B7HWP3paxgPY9GIW0qSpZSNPWHNwxdaiKdW3fwZvEawYKkN1ye02i8sTfea
x3HV45Ca19Abm5yRxpT2rj3wZXIvShH3Eu2FN1hQHFbBBiDgkqYsXk50yCD99a6r0kEUtMG6Mvvz
XHOZjJcgXUY0wPNShJGnjmO/jE9uAAA0N+wcZfyyhN55HVevwvF5Sckzv4Tp3z51611U2JeslJ0r
sz2U+byNpFLCnVkq96PXpl/N6g+1cOizYGk4OKFMFOEOXivENn01EfY3EyY3hgMRMCHceMxM+HPu
sW52gR5rwFo36evl2Bp5W5mUh7XltpCse5G2Het5zbCM50047+cUwgI6X0IeR9++9cPHQFv2LGWg
csPFegbZ8hrN7AHCrV8m4daUHZTQ1WVNGRGbvuAUrauf3VU23R/4Ft9ImDjAPk1TqHQ9mhXNP1YU
WqQQOaodjgqEmj43K0rhcQu+Jw7rn8MGZCANwkFmT4RB49Y0OEAr3/KQZ4X0+MmTeGUxJw1eP6tW
BjGZjkPuRfMv5aeshElXz6F3lcF02Jz7maqk6LzFQOcRWfmWbHC35z7V2AsHU2cElM+8/4nm5Dpz
sHs2lHi62FLybQsLLxrnqglRsffK+0H86RmKNM/bERCcXIQr6b6pAnPrjTTHddgWdIItlNn9zKCU
5UFAXom0rOZGnkYzz1CbQ6is0/jekhT00tTCnxvla+oJgl2G/Zghhq846/JMeFpMC//EjNzzkCWm
DFeioJHN/OB79tjy+H2GlVzuvm1QR29vOk0u6GSwmmooZQsK74klgCpGnxZR6s1VIlaXyx6PGIs9
ylgIxbmbonpRWqOZ68LKQ4NLbUTylnpJrpUBv2FgZ7Te+ro3opRxd+N2gqZkUV6hXcN2Ep56v+vP
rtVD7of7LRg7iH19GhXROj0q5VU2u++92eIf2MCCIgn6h27+LYGPHjNoSqTFJWwBxHr+JBaoN82a
wqbfx6/wZ+RjdPRiPe1UnR0H4beDHc0jbzKoIqRftnPy2Yb7fA6a7oclMIDTwaGxgTbTouk5oVT1
CqMmfTJOweEEh0YwGK5iFebYNpPOl9ZW3jh1eTSyq52YPOgIdaca+DnlcP7b8XOiXVcMfqry4WxG
n1VKQRXoJYNB/EBND0+GoOAl8/5lNKz0SWpUvm45YW3QuYvSN+m8UjcWaWrZVTAOlhz9EsV0s0Nu
iPpDPBFjAofPEp1QCbHM5qOkPyftTB63iYY35KvCjVkNorES7sUG80cT+abQ6/at3UMsEi9yG7bc
eiQum4mfonQd6tEn74GOgjzYop/SJ6+qX6KKMPUnHi4D256azd3WEFRbFDSimDx5XOxO4DW7tco8
Cvpne9V9og+eF59Df1TlQKDEYf/1NzNV/tjTcm2bM2bvQxtM6VXDss3mFQ1B35Reg/tLYuxUgG+g
TopwKFbW5S0awUln0UO3kVPU7XdNdUOtCnxQWJPzNWirScqfvZW0TjyY963SUU1RSwB9qBVQgYL0
xdQny9FN6c3bdZlw/bYr6KtqYNj+jqzNUGCP2EbUCFHYbnMdD3YsSVzR0a2HbXrWbexDlsAYHD3y
NsXslUzRo9u733qDQQ+Swy+CF+Ybmgd82spuJjCZV14FJn2Log5ysEyP+9oeMrL8s8BjTgj9SNuY
HX1SywX9sRY9hOF1NzlE4Djfk6wMt5nl0569R6IbisZRQE8tedhDvGZFPfpoN/HPmkJ8XQBbHIkD
v5qu22fn2tq30Qz5TD73e//soATlbdxf3PjQJf4KZyvledZ6U87wVxWWX2bYBtmKOug8Ys7jtH3D
WW6oQzbxkEnrHdsZSIUadqhS6uhlgIMA+hjUAHhvHjqljuKvU51umCfeVmTa/8TYiWFzsgYrDFS5
YxZ2AJZaAC6dK/yAdnkY99iclWgOgQrLUG+nJVyGcmqwzXgdmFVoRfmQpCgDU5E+9+l6G+Jof9g3
s+bLhO5S9sCR4aqj0GzUi109WaXTJupladpi6UPUJ0B/9rX/alq5F7FmV6gAIveH6EUm8TtB11ah
0ICu35oiVDQtk+bsDfd6NAGl02wjKpElRQkDfGydE3QJnB1Gz4NuihYPiO1y5LEgZyyOLyrYCgjm
v7ege8icBVPbHqRFl6K953AfOhClgNZUkxQmDPG8p+7n1pxXyS/xkZsAhRjoJt2KhyTWv6EsDEUc
bAYd5TK+GHIZ7638HqHq2nF4W2UygY4HRS3FJeWp1t0V8lUvS6FW+CC91OfO7HvtSPQriRsA4gv+
ZpwGBbc2KuPUXrcgfE8b/pOmtpZddmWjO0bZyc10gAJHoVz46HH6gS3FzDKZM1MYVDQQ9fvfCWE5
7YffHJXZYW4XkFp5Mkcv2TJqaL0BGEDfkTI+U6Gf7TAHIJJQ1gRJV1oDwigL1WGUPlBdb0R/6D8P
ZLMntyd+vmZ3Bs4KAGL7eFqM8A7J7EORTJ8DELXezNuSrYPIdWfcccKI3FZ7mLmOyxXmYmnAzcI0
OTaRrUMDPtvwQ4MRSKjnX8R+SCe33Yyf4c357+BHwF15eqxCFuRpA3RczEFfNvtrE0FU8hRKFc/a
O5QnKgL3YodPCF4xdDWLqmUUZdOhtCMGQ7cT9ugn83PI0dYQMm4nol4g28Jb6CZbOYwmm6VYpmaM
fEbnJN91aEG1mbd5piGgoXaHeYJ+keN6J9fzOtmQSdj3uJy75Dng6e9Zk0fglahH1+RTzK4K9WqP
Ybieteoh7AMz01sflz6srWBKXljEv7ME4pTLLju14gLqGm2dNieQmOSYuelFNGaHI4XievCWhwVQ
lRimpeQsuKMs/VARX9oCNT2C8oAsV/RtmBm69vaGwx8AlSY8aJqp2sohtfLSig611VK6GKII1Cx4
ZI6Di5qm9z4wJRW/4i6jJSIJY9lTiwCC1/tw7UDkMB/3YFfuFbA54QJtrG6Yak9H+As/LBXbayx0
CvnnaEXvqnlUsuhnckk61CXzvH0LffqIQQ468w5PJQlIK9PDIZV9nweLAtiOiVP0owAplZIbtodk
TOlxDFBWRlgFGUjUvJ+x+ifMP+1ZWtuA6cK4FKVVhBEsJVhwkpwySp78NvuNKmSrs62jJdNqgze4
BKWXEVOaDsUvQk6Fdnjgo8exsGa2UHsPuL0XbyFamZKjUwinfq1SeeSwtOpu9R8NgMYZ1guHHQ6O
PCh3JsyZGltGUwTBBQMhTdSHdr/6QNX94LXfVWeeRiP/ODf737Va48Kx5ts+TKpArzsApFgPvZyn
c98Fr4TOz0J9sMi9KTnQql8S5Disf/ahfqfR6oEbad6GQCAeMv1GKRzlS1pNaTQ88RAGmMfxG6H7
QOU3G0SONTxLvJtyi2RSpVv7ka77uaOed/RXKAE67kS9ppM+InnQQ1BzJzlCBvFo6Bft1JUz+pdC
8ex9Dk8hM7ZY29fM9ba23ZDinvsDGMVXoA6losvzAtWSJyv0K6j43gCVINiH52SG3UDg+QU6hTIp
Y1Juu6t52721LiUovqGbpfFatwGB8pphMAfeUzSiK559e1j2h9jNS52Zzrs2E4HMPEF/RaInZwPk
TimemhmNxBwcQl+zb9CSLgtuvOA4xaHQ0RHZG/hM3tadiCBffrDdtqH/SMLlu7ULqtd0LdKEwBgY
kwYCXmML1ssB14/r7pyZch/V4vd7RUcYdrzVzDf2FI+4oZa3le3V+9oNba7kW9wadpj49Lo2MIjg
g+XUJLaSBtzoss4FJshl56rCnMNEGVZTKJ1cdBgVo48dJAhMh1SHQSHK2Q8lFVIPHjQb5UO/tdvw
6bWftJdLHtHuo+/Ad8q0FcVo1I3SJj7w+2WMMdlREvUAkbz2Ixv3n4OGruUkGrAMi9YYfJPggsuM
eyoH1WkyeCrr/Mv3mitRi1/vKELyQdoatbV3sSSE8QMPJKGn5t5Z8xVlMfFdLSHA16FHABZke1L4
zd4fNXsds+APxM7xTLfHIIDerMboxsL9sDdJmAdJs5bRYvM1suGtlR/c68/NtgVgJTU72B0KoQ3/
IarPGSeQOeD2FGO2IohCZ1ioDSkyQU/YqcNSEPqZLNk/cZiWy6K/RxBIfO1BtYrtYRAM4Y/AfaOb
V2yjj84UiFneoZ1vIEFujMFInL9HEqtYb29gNOFjEk0Kjg9GgJa+26NbILt5BmPW7EQVO1zmQ0I8
xFkGU20B8x+3xF6bZB1unepQqW+PQ4xNHvWtl4KECVQAcUq/TISetU02DPQIGlg8vERsTY7p0EV1
knUf3Ph9Pje6O1L9ote1OxgUbgURyA2lXhFsy5rHwZhV8EuK1jWYPtLF1bTBDTPWPQah1BXzP2hn
Xb54nYWuxZpinsPPjojsJE2fwKdd0F8KkBDtWKQpgNFkQnkXQjBp2/C8LyjoDNkUCCTRwn6G+19F
cMgu0O1sxeiXXFOs7EA9KwQSADFB3HdMZmW6LB1EWpXlLFjqqJtk0bAIEkXKz9BsdT0GNjxEgD2L
po04FDr/dwvRpDBy1fnMN/BkbPp07GHexOe4ZpfFX17SDOoxmQCerCvN7YzUXWtUaeIkKIDfFzG6
L+hl01qFfF9yQfG/exDUqTNfu49vHFA7mKYVZUADH8kx1RXTkLct9NEgsX3VgqIePfecIN943hML
d1zyT4yCsIjTdcynfitDq+bDbrLvGZ4/bpks/XMDpRctW3ht4opH8zMg9e9J+7PXnXdqOWxQT76J
bPhoWXJuxlo2rMSJylhaSUfh9nnYQpFuhJXlv0sY64Xes/Xqtw/UKf/QbUONXny50Myhrmu+LByQ
nEdIHqUJIo5teHAsfnYcd+EqeCC3iLbfxIs1o3tp3TvPkDdLNgrzGttvHo9kLgdMtCIBe0AHRPKC
1H3TBCZ7hhQfnGNWr2KIcgm1vVjkUrYjqjxks5EQDNuvXf1aeqwVq8ao5xkqYwqQUY55t3j4Nq4U
kO0IOTIZXqdZvU1K0yrpcLsz32sdEXaMUSEsSfCpoDxUbhDZAT1EcPQQcYQja7+pFvg0fMO4ZNGE
pCEMWh8tHHWcnfoZ3URmgQqqJTohvVXF23zY6H33m/zvjQsguie05qIXlSBqxzdr7xCw4Ams4G8m
ehgKEoYep21t1+AXDo2FGSIRwGOtJ+AgQljat+aiQvfkZcNzpy0m9wiDDo1GveBDVFoNgmboMfHD
5p8ubjBT2vTbjpI3tM4cffgyqB11D6MrtGXA/X8G3xwCKZIjoOozICg09AA0Rl+LmllRpz51pyWF
4pCqrFYR9p2ZLPqwgMgYOCoOfzVXCUlvaODZhBAYjf7lG8fK0e14rnuEXA+sM7SOeJ77eG3EgGVY
xhe0KH01BE9LMjtAV95QDr5/jv8STkMbFHLLwCBk2Ibj6Ydst3OmUBnx2B2NHnZQJcPVhAKGgYNA
20QrLAeMpq6Be9JSSIAquXmJtpcOrLbAkjGbaS8mkfoHdA3lnPrPXiSuvQeBiKy2LaMOzi6gUfQ+
MyJ65ndoU4U0paqCJCR1kwYGw9HA8eLLkxdhnKN62EwC+VL1t17N9LLw8ei69eA7qD4hSJdLCA7N
OXHaOmT6KE4Hwtu2rzSxHnp06V+H/SEKdx8pH/WUADir0qwpKAylegnpnx4esOXBb0xDpCIcPP2m
8y5jAyVd04ONQFcCBfhsMmyhk+yrvm++IaNxTFp/K/yd4NmjO4iN+Jk1YwJLGDuKQkC4jyUynRi/
rOs27GSdhOs7HVaELLxs+dlj3B8QeABLlTTtcY9fQSn0JVUK8tsE7YLKAiTHj3TiwQE7EkWfpaCo
JM2PUI8ltt0QSqCtpgye8xLEn/5G1yJrjV9FeywAPlD2HIL7WOemVGwO83XBdRBH3zkiEbhuUY7U
wn/0xoo1yB/vmHQYe+9Ub6rs1OQVO5tRIScpTC2K9i3LFGo2X34GS/sDRP+vna3LcZmfM6UeZpD2
iLb2qO+X8DS1w9ss06Ho4xl1VivjU9dBl3TBH7U9Lr5KAP9CbU0DULas3cAFzzrK10DOV2Xxdyiq
/qUbk3L1KMAPPTxCK1vy1FBapj+8EEbnFpEt9+36hvL9BkMhzD9RxEag7YIDdbEqPDG9bE6W3WQO
tEVbk0HwxIBL8s7Dwqt4hz66CU2O91YtnnhkRkGpwAMrttmjcEHBQZmZ4fmgTtxTGxy609rzd+z3
R72Q8CZ8eHoDloW0nbEVqOXo6W1AuWrP4xj1Vbgglq2X9Me2jsjOgolBDPynFd1SwFp1RbecYHV/
sc1152xvPsN+QsYbDiNX3RG1GNTwXX0be+AB6AqqdgtBuibuY4XIASZa/mw0etSOq7VU65dOkUZH
M4XeD7JUhfhL3iwnkTGLkmCGcwq2JV9I83X04+gzTB2y6Kl4hAwNO9tq5Hm9uYZVg8x0JJA/VfqA
0Vz6QBGrO2uSr9uu6g6JunwcUAFRSVFQCrgOMfA7bNpAIWRawqzSxTx2FrcHBxTx+C+0mqdYtOw4
9/ziWQWKKwHkhIg8cnJQzlv53ibN8uzWzocTAzIs8kxX+AN7pR2v4HTvJQzWpgD8lkdr/4pKLrvR
rgozEdb7FpxRvX8yMYhyjbGnYBkxZzSKTQUkyLd/+mjghfL954RCEgaq+wnLs0xtI15DSU9+N7/w
eYbhk07flz3pKyh6p2gesffbCjaoybXl0RvK3BIAyiFIxxCssBPVlvGbypAwxPO5BY0H8ehe1ETZ
iPA71WveZnOHxJX8ze32RSkCk0AgCi+d/tCB5fvQHvjipXgcPitF2H2kzAO6AGYerhfW89+QWl/n
lX2BCblJFS4HkNDg8rb9G3dsO4wB/2z94JxICc5JgmZLPVK1acxqwtCqIJr1no7TF6JGG+Lw8z/r
wL/5Ee8PkiJVNoTe404Ok1o/SbJfolF+N9t0dW6AGtBCqAnjX/ANwauPhzkN4Ob66DaR+EPnv2Cj
RUT2W3ZcFhNhXswPvgKAReS3fguaekAjimEVnHHweoC4V1DPndaITkJSHLAURJLnjV2CYwY+rXRc
H9YNTM8Qxz+3qLlCwnRHqXYoYTE3VYQ9d9nYP1PmyGGf6Qei4X4+Udl/Y+rEFidqw0mau018pxbF
ABo9W/UsK1bo3EWYURimAkifh6+Z8IsuHGDZMP0I+D8uwnrbdlDh9ukc9jKs2hY/aHma79R5D4mA
0mSXd41gR74OUtVpnxyQ2sBczTpeSpK96ybFeO32lwjWHdZSGB4t0K8l+KbnY6iWg2wbFB4EbW0y
f185UZXZ4Och4VBjGoukPaVO35cItEGKsEIg49GMcD54jA40XIWsJn0Qod/VZjLDsSX6kCRjZSYy
FxPDh5Z1QT5ykV5M0Nbx2JFT/EW21AeVhLV0dfxrSyHpTp6Ds0o4uBxgNSxGGzlyCPQ9RdTR3oHp
9gBZLUbgxaU5/hH4ECnFDPLDcWjznjjbcHw08A0z2rZX6W+oi1t+EcGcFczrjyssstFf22KQk6rG
kf3mO98qH/QnjWdR7yPUXn8VfYlwJHBYX2VYmjZSUNY/7iM2/YTCsmsGdCKpLQTxUZkuCawtBRZB
tYCRvBtEFHsJ+gyieAbXHeFdCHGQxVKCsg+IMcQNdSbIqZK1V7lY9rsGxk5MQYFLd//L4YiOxAZb
3jTNpx/qoMxwtaVOeHPsY4ceY9/QAvsUVQ8ajejoxQGGkYKKjc/gqlMGMTCa+Mvst0eLigEsrQc3
ySRfW2i+geu7hOtbOBNxzeIVbGQE2D0REpmYOsPpJyA35qQCLnpeaNSWqRESSwXkJqRE78SG/O6D
pi9h9SECy8Iz1mjwV6E3X/E2cZdzryowVcDEIAyyndtq8HAuAsBLLE5R8zpwyNEMmxzvLX2cJ5DK
kz/WUb+gBluh0oDxYheY5X92BjjoHt+gk3t0iBA99jixofCAnVWw6xHxY8gQqkGLy9wcB9IiUhmT
Z31rpAkeUv6n3+PhYU11GVvy5g3I6gln7kugARDACQdMeBpbGue6J/I2h+PbxHGkg1rJdNDNgOa6
0/GbmUlFuzNe8/d4x8bUZGCfSIigd4v207TD7e/3/r1SBkPzQlpwTDaCj8YxMwAs5fcA4wmuyApa
M+5KIHNFYBxYihbEgF5vZAERPjm3nixtXlqMvWvmzEEuqXfy9A4rEBmlyBnI7mbzL7Q998roF99i
JN/jWCnQBgRIW3EeG5x7odvlNAfbrwadxNlb0TlFqapmBTDKU1Fa/81ruRabCSXN9+SufXPjoooa
iD2yg6oFJhlF+ZYuV9lMJSK1AG1w5ggD6jA0b/ip6NACeESNI/bXWarbR4eQyoNthYIL0stcay7u
SBhuu4Hc6poDwHDx7Pf8RRruDtA6YVRCewS6h1JmkSy6gm3DISywCIbNZeUA5LMUEEnLrjVPgQ7e
8Wl/76mQ/cFzl9C55LaxdqzcKuZqCea9INGiamflVMK/x/k09iPAxHkCXRnXyyp+uiy74kCA9rXv
9h8e+q8LkhEnX4rXDgfuXKTo4mcud1lOun8aZ80PY6rHc4fjPgqf+w/3zyM6D9EYHRq/OdFw6U+T
YhTmZ3SKpzF6YG4vjGcIyrsu99CTVMpHZuJv7k1FIDTw7TfVZyXVS5fTeW8+fNBFQShKobEGjSS4
Dgq3ncyxOslsrT3k2GuFE2rKJqLiQADXXRTxQecO9KBwcgAOPTnMA2xDA7of/JDy6naDldbrtdwY
nBE8PPq0yfnLQfhfKUS/2cf7QMGjo2U/IdaNmbroEvtR+BBofYy5n5y9mN95xV7XvoOejuMYUAD1
Pnb+2BUScEnOQyZqT7AFEDHkYDSUzSWGSZgPOvy9T1aCRVyHU3zP/G0xLDVNotPkELEOvTCpNurG
zzkGx8t7eJwTls/FImGsNkDAmL5o/eJK0URW+v5Azf1rWzziqB9uf/zNdNF7PtETzXnZscOIiDUv
Zu4OQOz4aQoFYg7IZpbpZMaT8J+wXgKKibH6DsGCCEEQ//z7i90M8WRIBncYgtFVGhE2BPbpduAK
m6Re+59dglJyE9gi5QgATO7rDE8IM4JHTJZh6I49gpd5u7UDLNWcTujHjbcn14Gz0nK4jwFUoxOI
yzQfE+uqeAzOQzyIW3SPR+5iBCO3dVhKYpmdGscqaB0vVqBunvgXoovdS0yG0nNoNxum+2qZZvek
0uyKrRzMbzS/0AFu/98II4O1DCGyOc4z1uNMy9rds5ls0RjfjwMk/Wpzw1QEBGdKedN49bEPF3E4
2Yuk0QQRjiJd2MTHAHyykPDLPCPwz9xtV5as9Z5wOJh995J4kSzi1vl3WGir1GyDhwj66NAQ85AY
2Pe8ix4g9VZBn6TPGMfn5q7ibRaIlRMxrmkSv/YuDUp5H107XaK8tSwpvVEaHCFFv3S/Pknh84cm
aCCS9UDCxyis/w7GyUUAo1tS/fIw6C7GDIdt2NE5O/oSrxB0kEcfRIIB4rUtDmSasMf25ildYnKN
Zg2vGGiMt96z3c0an/t1unAB+xFQ2lJEFCOELd56nEXroy1yj38PLNCZjOps2t7Cbfln6BQ6QPbZ
wZX+H4G4/9fn4Nz+9Wm8//kgnH9/Ds5////xtJwYgcr/lV79L6fF/Z8+Zfc/HJdz/xW//+eZcThv
FulCkKt/D7e5f/jov86Mu0e54aok4JuSICT4mf8d5SZYA2KKKDHBf+7Hnv4ryh3+tzBG8hsHPOP8
YBKT/5vTcuL7ufX/IYOJ4/ESXBlBzDzEhQT/KbOshgCqzMLC40qAkfHsw/FFVS16IcCIZ5iBr8uA
eFNAAACZbZ5KyeTPOQY652LE+uDVdzECTltPip4u2dHCkz9EAsZvN0BesQ2/Ztn4odfJFLw3NQ3T
H2nL/wA6PtvUHDMeHUGGfo+G+YeLyCWY2MWPwtc+wrxPW/VHsvRdeHORSXHDcRi/439j78x2I0ey
ZftFbDjpTjr5GvOoCI2pzBdCyoHzPPPr72IdZHd1nXv6oIH7coF+LmSlpFSQe28zW2YRM7Di8rWd
Kw1Bx6wXl+bXkCumhQo7Gvoo7OYHS9SHqgkijF72aKIn4zVY6DEtBoIk97dW75z8cjqhkE9bwBwc
dYv5S5jHxwTbhxHWj0bbvSlW2kb3BOmg06+nIfNW5cDyyKWYq7wqtsE8fcXu7q5Cx34Z7eyMHcjj
blV8C6W6JIE+z+lYwuSZH40q+Zw6HD+ZIpFntz1vZ7g1rYN4E9nygYs9QpJXPHLz+O70waPr228k
mL97XlMzESVfpoRRN5yHpzbi6DUN02dVduAF5EAkLEJ9C+1yE9UWYLse4xIv6lPJs4vkwq1hQsHA
F7wIjV5sLPkouD27sOmeO8+90zxlrwxHsT/aL+6SLk26T2NujvyIiDwl4or4jS0RZ7GBxDoIfesH
h72St2XqGvfIw5XIBTYh3CS3Museq6pFKyzY5HO+JdUMWyclWsN6/zAyIK6m3Prlm6g8Ros+H7Am
4GX85NH3ULL5rZNh5pYdhifYMee8636QUcWlUwzfu86yV2XvHudR/TDL/rUcosc4bUgD9vek8p7j
vNlwPz51dfurn9OPxrEu7uxCcaoRxKeMhYX7OFf78ew51Rkp5ORYyUuVcOVS80JVMd64+vF6mcuH
EaRHpvur1fdf6p6MS2kzswTnHoVgEKiJOu9fMo8bInAmXPTV7G9clT5Cp3uX1ng2p+nd9xvwB07w
CFjNXnkD7+4mBsvGm+O1Niq1cvo5u/iYOy6dHdlHdEQNHEGQzib6MvsPXt+xhtpASNRs8T0MnuRl
M5oquxhBHB8xyUZPTdiBHwIPiY0rn6dtn8tvrfDyh4lPwWF04JOYuS6Pyp/DI9lgvUMntFaZTmpG
to5pp6tfvDEcWbJnHKqkDrYwHHENxbXa4ae8KJ1+l40Z84Lqv/eNRSJNWZsBvgJaEYf9Yh4AE+mv
bVX6aywD76yzA/AQPshRFm0cu7sa1VTilXT11k4bSEvaridQbngTMkz/84h7PHeeBSSn1OLUadqj
eWxr73OGBIhD0hHcWjyW1q7iQ9bFn+2IUdaK2mc0O8xIY/4rt7k0AV0K9pbU74lfIGOTLlsDY42w
05K0HmJWa8eZx71l8o+T98beluIRYVIcNJ/IdVO3V93g0AbklG7YFL5h0L6YYYHKkA9vc8nGjHcO
g22Z/gyq5Jxlcs9X89MfrGFXYYkBMDA+DW32WXHeW/mJ+dRbiI2Jn7p3bHqcc73ERmszBaiqwHrG
XYK5AxgNpi2FDBZlI+Q+5tSJcDAxxdjI5anDHbLiyFs9YXBsHpRbCe4BPVZdNaUY/uLG3BIYDlji
Cc9UCGOHIpsySJ9Zu5cmP+jebNTys3EedO0/RVVxscJp0/QiZHPvTtVAeGzEuFDa2IN8YnyohJjm
+CDmPH+j2UTZlRxjCjxlchsnw80fQSM29YawUo3lkhtj7+5E4L01lfucTE7F/z164Ai+c2J+Z3y/
XTmBdbcL8osDMYrB+hgFu7NRwZ7JcPqZakSu1cV2ashrxyPrJ49mZ0FA5QGEw4XmZDXddS7in247
fM8d6zz2/jsBua0bEZ6I6vFDumzuflOfLKg4u1EVP1tHXypOISsliieUpl3UVogsYbg2LPVgpuIZ
f8PabPmuyuEk5ugxa/qdNrw7wJ2Lqbqbx0MpaHgYujreFpZG32BNcYzXhDNXOJmYyOVTPBn8jDx5
99P4gfv9T3KbHa+k8VYb8SWLmo2oCPtm6XNp2p8qXNy7rK2TX5O19BAVpn4Vx9UNRxC3LoAcRtZv
Rl2cWQ0BAjDZD16Mt9psVmIW22HqSNmXr7odDm00HGBsXBqwWZXBwdatseBNJthTcXMDjBemcYJB
ulzyFkvzHVjsqU+HZyfF6SKjsy9s4jdhsZq7cDubLMW9T9LUn7a1mzxEpCPXRkeuEzbojqv2gEG8
eBDB+JmBYR0qsY1RPkXmXuu6v7aWC1dLuScMUBNPmTTv4+fCsUZ/5yBFEapCPg5WQVruQxQjrLlT
5W77oYn1xrRRzsJi64+GHNeFp9OzS8RHl7jZeYxfmkI+eDneQtV+5vVc8agCNlYGDOg2F+u+ikas
gg2Bd29mQe3QrSzJ5R827ZJWtYsNJs7HOVaPbuMybVu1fW7s8tj1c7Rp0ijZeGbwna0QH6WcMLZU
6kN1mDecEENqxEdn40At+14ZhnXl1y28u9xHPqOu4A6Y8YQ3YbtdB9dt+Xf0/4sx8/96Nv//cuoG
//E/T92/y1z/QUv6O9x5qSr/PWtDYbaAlAnt4qb/x6AtgW3T+GCbnqAOcAGN/B60AdzDPYaJBNcG
FslfkEmwW1BFaXPWlnL+nUH7v/Nt4DEpbdr8bi01RguB5PvH38nM8SgDxRfXH3LsMrX0zpwu3+QM
9K0gTzGFdf2/U03+Mtm7psfaQbcYBTwWDaF/gTRBA5YiC4GamIN9EP3USiKogrRRxJs9Sqqa1I0g
kmGK+uTWovsYgLyJ2h+OUW2Y+zhzED0dQv0GXrBHaNXwLSFT4SnsHTB9YAWScbphsAEoEeubtEKm
6mhw90Zpk7X0owCki/zK/bDl2qgEu0BhfPTEufcePrpluWW0BP744PeVsyXZhnBZoFVaRSkODkrt
KRF4QMfYOhrEK1bQAzACWy+eZ92jcOKVFyXTPuNZw/+fTIg54MRfxDhOIGTU6jLaWK25H2JxNDN/
ODnxCLLBu5eeCTcCtwdnXgemkpXdKyOML86QfMNyJE5+1HIOKvGwG4bXrxs+6Z8Rb5uz0bT+Tjil
u648gCFqMr/5smcfEGkRnjFKVNsxY1hG4FkQzPWXIs/TX3kDy2UlfE9ivS1BEjax/ypbnK2OMU9r
j5feOrFLF2+w1ogKgh/oSNbCCdz3PMFUtDZNY59l3PALjavHhZfiwxdg5Nn7nn8YNWlOblkIxfZb
3yPmohxrVT6mQm2MPpvIM0Wvc2jjlTdgnPZMHra/SaImPlpNcp6z/r2KSX6MQK3Dmghh0NZXI3Hj
nShluEoTMrE+pMSd0aPcNm5s3TDS1V+RZONbw7sfIbcKXvRQNU/KnD5C0RUIKNMMa0QKXg8Zf2bT
WkwRWR1lp9BRpCNt7f0KzUwCSZ7gD0a96nCvO09FF8/8E5bxNcPwkyV+tentBndBUehbnPrejVQF
sTH8+as0liYMnprcqhwb5a3IwxUb0ebFRZvRtlQ8ju0sPQhwMjht2qus/J2qdb9V/TDwhgrM/ezY
Ny5zb4lrmEgxtYZ2gLMZa6jHb3H1M86rdIOGgc2waoxVPqVqn6Rgx3RjBG+NgmLttYaNqFlHRwlp
J5NucnZA8ACZLRsiWyMiRNjiSGvqJtpVQzoQDkzbezU79cEr45+Fkdw4Cm9ie77m5bCGofqSxu6u
1cHRVBG/ntUpM0GTQJCFNrP3DXs7CniUZUcYslLgAcvZEDe/rOTen93yHDiGQ4K+9zbATT4gyc2b
KnQ5D8aG2KWtxRyQDh9uUNXrrkg+YhfFTbiapEeZursmyy62DH6SVrf2VoBxxeROufZl6K9klRfv
OikQ4JP+CevqyVZTuW5K8zCRncJBJNQVQiMQD6OA2jAlN11wq8pssQH9ZZw6Hcyr3EKni8sGbG0t
H+ISZbjnG5zC/hcGnXadhLpGFeq7A4AErOT5HKZ44dLq3CF5712/6g9N1Ll8SCB1Y//AjzXW2bdO
1u0Sghz2fa7Ks0ILO9RJ7+yi0ieKY7O95En6SzXWuFYOaYVBE9R26yMyTcz3Zr/p2Cbm4H1IYTx4
dfiEUf9nXTePNoDWpFV7d4JPqcl3MoVdNKCbsJnOXePdmr56AwC8wKFSeCL6DnWAPHlVN0xtAVGX
Ofo0ogzYbwpDUkMKzxt3zwparyqjyfbjQumu+vKJFCDAz4b4qSXc9PWPt+Z/Bgg4Yv+y5GH10bYf
2efHP1oJ/+lgt/zh30MELURkypc3//+FvagAu8FUMuE4mX9iLy6lUgsPESCji1NqYZ39Pthx5dPC
tQTvYCYADJT/ziCBx+4v73Wg24q/Q3kLYA6Y9l8udl1D8CZMqvFQA3g9OJJjCl0G5brvImflB/4B
+83WnaTaYBk94ey8dS06q3aHeQ1O40BGEkcAdqi1Mc5H4CU8Uwbj7o/jjRMYEmEV39y6xGSOAr9m
ozzIgJSJIuw1qK8jECNRJM+4drhJxKiFpDKGSmWrsSjefc1H3ldGu0mC8ksYlvppDoDcGBwIz3kQ
DzcZN9syxB5apngf3CYgbTGn86UIWp9DnvMZTLyw2tnofvk2NihfOf6+K/SLsNn5zdH6WbU4WJ2q
NFYC9NgKM7vxpfbRJudIP7vSuTRV2F2UWbymlWV9Sp43u0pOoLPM2r7jMMVdGgEAGQcb2Te2mx38
+WDXyxHTnF0XrNxkMI1yLEmwCp5CEXq3dotdOw5feCS9VTGKqXBuZW8veumDMWnCYeO3QKuNcOzL
nLbPTqcrnNUNW2MehjbzAvczFebvYYs+UZC/9x1cBhzPml1Zx/lhjtxu64PkX5TXJRJgWffKl/Ze
xoV9rWK49XMelryNCSKso5qUJ3lCaH0mMevmYlnL1SD9ZTU9+qqF/z5FLLLm9KViuxrG9O5pt4Ip
ZH1rQ29LC8i2b8b3wJkO3qKalWPy3PnFmyWjrSPicl3MhbEBY35qIucS2niDvEh+q9r6OQy8ndXD
AxpSUhvObpjdHeHsZ6sPq1UYmNj2LEi2YfqRKePIEQwIj3ltywSzUjy/JQQbAZi7i0ellbcqtj9L
v2NBjmCYu+HVmJrngjfJyoZTG4HlSOv8ZPYjOZqJrbN1uAmGQHMqvz5GZoO9cEQkJvKbuuO3ODaO
VsYdsbBPKqoeK5V8JBmBtRFvjB2Ll7aL731U7UTUnAPy0aQquXxFxmEI3HuStKchjbttWtm/iI1h
Vu/hazfckbyw2Vdlv5lyhMnCNjgoxSFOEdBXvBvjTepGx0FBLSuQsWfz0nXd18lNX+I2IGOQ4vwl
yIdFQxHeGzx8ZG5Y9/hzgwv1Nae26C6ww15M6Fpd4uJs78cDvGJwlqK6KuJ0AGDUJ9rjuANiUJAr
ShTneAK6fQWpDdVy1fkG6AuXqZv3KiQ8G+4MXh0gSmn70wk5+jlmk9RrgwC5tWoLHxoRmuB8JFhS
ja9DrkxxhSHbbDOciT/s3vsUsvsaScvbWs4Id1seKHl4CMrip+jAes0DuM0ktbHn6/cayXxf9tWv
QpfJKo2aaFWwiXPtGZqN0iEWdN3/8G2LPKqmPcPo+hj01ZjAarC+NRrfmxqnD6vg0hsIvc/ioN7N
RkUUvCiendmwD93kIUobRX6NTWXtVJvwbdjjr4GMgl8TI6tU+lL70Q8ndHDkls+uGx5dEnPTTCrG
tR48n8s4AxnAmAAVYLQnj59DBjpW2O/DWOHt9neI9O3NWjb4adnlKwcV1Vv2ewJq4X2qR/tLHg7q
MV7uAMLDZjpFEZGijL0De0aOqQAXfBn6cNYJEvXLUaHlumAvZwYRqGY9dckVVfUb1ZGMqj0RmYqF
hycannLoWUyelv9Um2XHXRFiicNNo1qOG2iG8mhG5Z0AGRfVtP4Elv9Qcw3ps/biLueRRlv3weVR
a/xxO3Giae+l/WX4465SVLiCywYFFRasSbxvtutf9H9w6Cz/uMyEWRw/x1jWONi0tnovuiQjNccl
sMWEbYUG/yPn0YMUwxkNiuNY5Vx2kABWoC43Yz7cPYuXQlOyUoSoPKp9w44y8Dgw5g3lNk/GTMpW
9uaZqB4WGung/wvlx5D5d1cbOzU5agWf6CCN/FGWnb3qxslZhaLuj34bdPsgap6ERTaFD+GHg1XH
csnp9mHE8MjRFhs6ZziLizDAajJ6/ffJtM6BrIpDR9Dz4hY4fyRU7FVlYyXqytJaT1HiramKeQn4
tEHmMx+NuH3icUfAQRJbsZj4x0C+gsMCOWXtA+54ExZ+J0MkEaIn7++SHqiwmodTvJW0EKykZzyX
Sfrsd8Oi9NrvfKoeOHpHZGcq9RL3JAznEowE2alsJWsyC41d/bRDdeEEy2BufUQVUyldC0twcxbT
F2Tkp6aodsXc3gT+Tl/JTRUT1lTp8NUdsIbjK4FWObf4LsZ+TO7Sv0YlPzK/3YdNDK7NOfuyoaNh
+kZe/KtfheUqiie6eiLxxi9+uuY1fM65eFYCDaHkVY8h8ItZu9Gb9qdv2gATSO4D4DxoBtXb19F1
7l1evowzVRGca+kvKvO1lcQnWcPp8ebH3rMeU9vfhsSvVwUoqypK37SYOeDPztexsS9c+DA01/F9
Kqq3DBrc7LKgzsGTFs2OnZhrtXXqMnM7kikttH0XQ3tv/fyaO/bXobKvXT95m1CQRqKeiPR2MX/v
ErUd8/ajZedPcC3leu/BF7G/pTnGdNiaXaiuRUz5g2urRtxnGJB73rnxFlADKE0tXyxhfRstfPFZ
hQrh5/FuKlre+UhaYzqD/BseyY8CCbSneRtk+XvcePmVMM1iJ9ZPYOVPSKDREgSwAZGh/cXxxYMG
sMLgsPAe/CdBS8dgFnsnW9A5dR0veRl+40OcIxYB/v2AswbOHL1SU3eZ9IS92SUdE3YKi+A4AXov
AjzYLgUE3YDHsyGqu510+Sn5J0+VEnwmlmhcSP6kKs2vwH+vCLAcIqqSRF/bbYyWlwXJDh9XV/BM
hxiDYDxZK9JkWMARFdbO0D40PN/OhhcTaxbvoWU94D9rt1UPk4V3/bgTpgoOIIR9SBXcszwvvf1n
Y0G9572uHdT4/+XkSUPjOvz4e2vkP+8s/PHfO4v9N63hKCu8BA4dPFw4f5sM1N+4BGrtKmVJjAYs
Jr9vn9bf2GMsYPFiacgD0PaPnWXprFMm3T5cRoWim+ff2VnUUjD9F5eBq7XmHKnwLDiu4Iv48/kz
GlEOzGpAeo3Rsp2yuujlmYCLEOXcxoyezhhAk5LwZITYT5qqDe8VebQdOUbIto73kCZpv4kUPNu+
1Ed3qNsNnvpnxxTHBlp0tGKTr1asU9V6yIwFDUaXRy7lNakiOjFwx0eGN/NZcXjXk40fuioC6sdb
pqrR2YqETcTTmJNRf05VA+ayBbEezT5zfnRsw4TwuOETxPZ4AcHmZ8ImtMXk+VLICe1SFrc0jV9J
9d28OH5tDSuAPV7jzU2cXY6sVbBfINwVr2Ofn6HkRpws3Kq6mK3oz7jk5DFvTfc4oYGTOxLYvKwm
mtd+HVkDI0LnnbGrfUK12KiARChnm9d4BMo4MdctJLgab7ZhraU296JLulXhWtNeqMn99IMUyErh
tSMGhKS+L35kfGV2eZ6LrMPCXntXP8ysAz+NbONUPGaCbEZvpwMuPQuvaN8S2+uOAbbBNzeFT6f9
ZU8oFFa0GLqWy8GTNEOzlaL6ygGc80VHtLtS27Qk8yP8zLz69ey9Jr3I3o1WSswPsUGGqJ+b65Qw
oPMPtJMFmylInXZvuzifx9Dtzr0KMHHAoG19rKHykEj/3k7eBdEIbKq99Wf8+HoGkQN+bAb6sU56
fZLYQjtjtDBJJCfPbB7nabrWobmO0wosXHkVZvdeueC0pPUr9pyjt5gvrJSI2iQOeeM9IjDC2Uqy
G1VS1wbi7mqqvYNpi49aeaDdzEuWQJjPF5t2Mp6DwnlBTCVhCl+ymsfDZNfXqjFfE4OMuGWsI+i5
obfA1OF3ApboxuCcGsG+nozvbuofsij/CoRgj6Nw1xf9ze3LXZ/1L8ACb/2SDhw4PxPdkKbexnn6
he0IW6VLfYh6c23n7Lr+mz+4BxN8pA3YB0LkwSvml96K1pOtb2MT3dty2NMQc8Qq+ygy65iN+Rvn
KSCFRn0vo+g7IaWXGUcy6y55GSvHp1LHt0Dw9Y5WMBJZak5xb1L54s2HOLVJ01fJs8+gAN0GjBRk
ph/uOD30Ax2JduRuuHpuXMN9cmW29+3gVjTVwzIfwjN+SoBdVdCm0j4+Zk3+2oSusamqdD5VPqAm
1QczZCePEzh2gkkBV6g6Nb82RjhgjNbT0Y8ZnzybtWpuEw7AmTK3JgkA7hP8B7YafvjI77YffzKF
TLukIYo0udOHoWW16gsQCsHAzjr3PzvtvWXCBkyqlngo8yrYa07myPLgku6+kT/xu/WBfPLEKkXU
AX4OOl9pXMi3TkTGYCQ7QzmvxqH43mkFqJxqmE1lyHPZ8OkMsBQfh3gEx6+TuOZEw5w/Gq3PLOtm
Fn4QaLcqgS2UeUO9IdUEZ8F2f80NEeNWaIg5aunxks5XNchvmiIuHNGW3PSGQ5TebJnYm+6LCOFe
Ggiyq6blJ1tIsQ9FGvLgst617cAOUAEiy2j+8NzcIe0CSiQoLn02L6ZXhOO6XM+L9gzOce9bTsmv
qcQG623FhM2EICiOy6ucYUpQNGXNoFDm/OKGwxZW+j4xrQNIiMem8ve68N/QSA7APveYMy9DO13H
rL7XkooQYIyFHPtN4CJryEGS+7AXthtEDmRZDvYViKX4nrb1zcvte4GviKdZ7q41PAguAEzwMik/
AQLfAz3ZK1laZxsfWZu3uKuqTFzDIKNgqA6IxVHf1VPjpYgHbluKvbBvHeFivnnC3s1L81dDBVij
B8KKmpNrmCviiJ3CTANdTR8LHFgbazCHcc3aeeNPni1tA53AowKL21g5SwNZkYJU4SusjhqL2mh1
Idla1RMjr18FFWYGVWYllWZh1MKApqfJHF7NJHjVVJ9VeGPBfZLbp57OatMlURN+m6gE2qBUMPt1
EQ6Q3iBDaM/QFPs6vTaJYR2CpXmt0/nwWvq+fYPe8TXp1QuyX7mRQXRL4MsecwFvMAmGfbxk2Ypw
eJiE+PTDdhdK+SGW7PZgLEbX8jPE2gwfFwxiXu/SnihKWRq/OhOdIW/qbJ1XpCTx7pEIyvClDkSg
Vh0dSYy7+2TQr/xEayKi7Atz/gU5/Aef6mlNM8naaVO9kyYyQc9hw8E9vtcNt4ScNYBCrnI1Ne0D
M/LPQObZtg6Cg84a8TNoKv2Q80K8wwbDOdWLiwkDd4Mqt4XAfxWyfdZoOGwQ4Eb8DGRPH+9RWNsV
XFbqCgrL/akrnni4zDUpi/E0l027MxWxh3nW8wk9Qq7+NKPd/6vj488tvHLRVf9c/eEA3pVKKhxF
3HqxVP7zrGPkGbgEu9aHsk9uMGGm3Yyj5iSyuSV80v3oI3w+mZbmQdZcccxUk1rxRLzOpG4wBlrW
W+Xbs8OuQDKSst/4DCUV8cdN71Ek9Y4Kj+5hjnsQHLq+Oa34gtuGVTBbeFmZU2/sMFH3LAvfjAot
sW3my2h6v4QVZztou+Va9CW9tDlRt/9M6r8n9X9Z5vS7QPMlLP6HSf1PzU5M6hI1XiiN8RaA/J8n
ddMV2AA8inA0v1a/5/TFQOxpRbET+ctliv/HnG79zcRYgPlUCVdwMbL/nTnd+W/NMZRH83cLG7+n
A2dBshH8eU6nAkUWMQEMXlBcPocS5W2UxoRbcqGu5k5VH8Y/3mLh8kJLK54tCPX0BvOyw8ecMZLX
33mmQCVYXomEXCectrwmx+WF6aD6rVLeoflkfXRR9cQz4J5nCuAab9tcjD6ZEp4hbRJcLYdwv2Wl
qzRj+ujn8XNoMdLS3jhTotnTczIxYzTM0qssXCjSAV/k8vKfK9/cTstAMHY8S71lSCDBOB0FcgiC
KSPEuAwT2TJWhMwXchk0ymXkcCgWPkH2CLaZKF8JMB5r3qJuCiCGeaVxU17mhNbN6OYxz4jYeEor
wj7MOYENi62f0mc3jX/UyyiEg9Q6tExHtEXxlaGO8tpM1mXVnaZllFJ4CWAapDeTKYtHAuDvZfCq
J7AQTGKKiQyePOd+ZjTXlMeSmU3zJCsnwkvMchiSbx2znd2bL5pZLw15HjL7+Z530MyCAlyYyWzI
GfugmBX7Kf8S2+5We82pYZbs/iBO5KQV+5ekLnYdM+fSljExg6bMoh4zacVsqqm1IAN3yTBuTsZw
Nc3xChbkpz8GG/4/x5IZt7D8R8OfmCf5O5chmNfdyzz0Z6fGslaRzNHMy30KRYn5GSjbof5joO7U
NWXCnpZRO+4MhnRxkMzgaFN6JRsXDq71KxLpdWZaD5na4Ujeerhvgmmeae7BqaYTUhyAZOb9MupP
dQlwEdA4ST32Do/dIGNH4Ji653p8SWTwaLGEOvwl/rb7Y7Nos7Q/q2XdwBgJVyKYo0PdVs7OSlgN
bVzx7GYqODFTZwfYwuOl5Kuiz6R0jlnblQ+9mPkJVdSUG7xkKGNQ/mMc9w3+CpBLFgf5jUslKdFJ
19m0snBO0hg5AEryu41jdFsOtsSZfJfRsCT9B3Eq2vBC/677ulsXrjr1fYRfaMjMW2osnZ1DMzYX
9i7nBCv/wx3VeDao/LqAmH2iqcZcCUp8IJ8kw25kQdlOGf2MpZaE3my5snNaRzBsBFfOE6+Apki/
DUW+DqIW5JgNJzJum63ORtDLiTfgSDXUFz8As9qXLMXcZ0vGhtjilGhHx2B2qpMhVbCfapAfIABY
NRI1HVvpfaXdiQNUCbepSUb4MnZIx6NucvDX47ilIoOeAcB5D5Sq4itkk1mLlCT71OUdneCKeoJI
TpuqM15kQwypZLemzKBz9NHoWv3hGXafr7MoA7cp66ZfEwSLzrLz2uxSNSlFUiFExZWLdT7Z+NqO
3/xOlM/xQFctvafAbqxeuuB/3Eh4+2ZSBlpkTzZToVVsgnKYfja6iZ7oA3kjdQCQQEGdBukHrgUL
hArN17xYxs+B833e5aDH7DHEr+xS3Wa5X6FuOwT4SxwqLnQzC/kGk0NpEkPDl8X1dWxYq2RJcGmU
q6zOmq+e7IYjEJV5hoSEMWzG2bsC0k3Z7+w3u6kpznOQ3WfwKtuwZhRqiXVs1BS/Z4nZPSLxNQD3
/OgtdBLNDhiyexA8oUUn6MX4MobSv1EQVd0y5ownKyoZxCgE2fQC42rqM6lSEQ310iopCeGeuVde
lWM9KsVlanz3XuqQW6yyKW7BqqpN/6GokAYnN+OI2M4XbBvkxvB1bAJvvMiuAGSTfmGE/NlM3QMZ
wTe38biNWt8zE5CWFMUV2gbVdZGdHdze1I+54vAhMv8Vlk9yoEO5hnowfXWRmndSo3VrJv+h9PtT
ktMv6OXJjzTBAQZvkzbzNthn6B9bo5HMtWVH+DGLXzvDvzs1bAa3sJ7xNj2Ztkt5vFiYwBSWrPo+
vbvsPpx18iFdjcIJ0M/i5AKL7gNXDIuXgBMHNOwROvRbqg32Xnm3IvmuZNovOIqRt6WfKloIZ/zS
kpMOva9FwL050gjUh1GMNkS6LoXC0QYgA1VhCqQLzzjWPuxIfimTY0PxQbmUwepMgJ+mHhaIRoPt
hcpYL43epjG4AdJK+PzQfVdw7DhOhngP+ik4RnjmlJ3FGyesP6WEjB6MYu+2wQ7LGCd055D6JZc3
GCvlUmlb9PHXir9jL33KG4rB/khrNs9p6e4IXUbyGnCNRQoR5EWBGACOBH9wAUqOxEywVhXkS6qN
ud4MPU+nrnB2gHiTx7anjbf5o5h3WDp6rdCkrjdbmntzgdXA60gyBh5cUsp932qKfvu5/YTl8QVB
D3cVVcDN0gmcSKAoYhptll4gKxS/gmpxzyl5kH3puudMGy8Fvt8hBe2YUDssVfcImeeAiekO7uae
oAnuLLI526zX5ENpLi6C/M0WWPNGijHWSOYY4kqK+EbD2Pupc29V8R0E5q+uD38KipHFSN6FOrVr
IsajMtSnpHbCpkoZD/VB8OGOl6hUZR3rxPg6shHPsKotqpgNs7sPneDpbd8y61F5UHod+K3u0uGc
9OB/kzLaTbG+10vNM3XPMz1i0jLfYMW8a1zSMbXQk+kesKBv50JQyxTLtV4apOdhooN8FOHOFFN4
KNLkvfX9byP10+uaOMW+WAqpTdgpnS9e3Wb8Zft0Vue9xhCohodgWY39ehDXceGZtD215r48D4JY
TcNGDZD7k8gMTO9l2Q4s0GMzBIoscB+ENV8TlnJlJHfFkj4t2zqWwHqpHjsEWgOeXGa4ZbfH/LQi
Bnvx8vLes/zb0XiZUrp87eXeZMaHiUuBCNWBX/+9G4+kR/KLD1AOuu53IPdbfn2vYBhRmKOjDgx6
4IjBLycJT0y8ozhSlFwrfKXfuuV8gRHu0qQa26epftXLmaNnoHzMOYEAVKi3/nIVmZf7SKmGL3XN
bXCG0rAyS1cC6+OeEkTOt5oDi/nHpWW5uUzL9SXpYZ0UJH3GDmylXG40/9mafm9N/zJI+Xtrei5/
dggZeRu10z/rG38KUWLsxoWthXRtlqY/6xsS5cP6P+ydyXLk1rqdX8XhsaHYaPYGEGHfQfYNmUz2
RU4QFItE3/d4en8oqa4oqk7JOvbIcQfnRCiqWGBm7gT+Zq1vuVI51m96rT/6JuMXYSubmFp+UsyK
rT/6Jp0/sumdHf7PEkS2/pO+ybL4xf7U85MFYSMLM1ir0birz1rrphSNgTV92nWxcevOLmisFK82
27xFl9QvWo/4MMC8TGD2uGtNRMDkNQ5vhuN2txnwSIpR9FVRrfQtAYoktvRkX7zNjEdc9IZ2DaPe
ZzRneJgLI7A4BxtVx8xPIyPCt9nPZ/txMI9NL2+Zmt9VI85jL7wanPbKAe7sUqkvLLeFKE8Q5Oy8
4M5qLajO3/KgujTxHy+i1t0bpBhAErk0azSZ7njMgOUn8AaU7n9RQN6W2gjxo2ThSxF/ZZgKnmiM
KCcW+RlGy4EXniGMMeWmqrSXLHaepZa8p1CZWc96j92cH0PQCFO9mqwfsztPY6iv8lF/GvUeTRiB
csamUpjZXDjqPByKZuUh23lNyYON28KpFhkDrb3H5H+bm1200yfo+9ROTmdsLdNODllUNkefZIJF
5BYnvzbWoQGhK/MA6baTfLcMBDmuNVB884IOjUB1VZHO5XRiU8n8UrBcTiboGr6I3n2vJ+grLpCi
NbeNZy+1Hs2IK2AWdlGFUGzW4zruTZRmF9w6UBerZz8jI8Tg+SvCfF0Lg8hzzIhK5AfVIvGthbOO
aYY3Ws19PHPNHaQw9unu/BBOGX7mBrorFxBoFd5OzbR1HCJxHAOcQgH0f5gvbTvcrAagTtk1FqDj
iIyvRxcOWV1bOJS8K13m9+0Y1gsGVFeG4yBkJcZ7mgO9VS+19RTRkUvop9qc+i275DTNOeC4V0h4
F/4tHexJeDT3yCrWAS6hxTjniNMJgCCD+s4/qVOkAH/q59zxFMPngsGS2DIgSDYyIJ88mZPKC4hP
D0NbxHuRz30nSqR4TjcHmV/I8kBMMWGC8HMZGFC9zJHoJdnoyAx5Qk0SERCzfcJKbkua0dAodki8
gPOEAFOwZTpm25IZkhCvxPgBshPhqSwv7isLLHsSEOPTer6idzTD+87mceXN0e4pMjXqwIRQGcb7
a05ScUJL2K+T0TzFTvrE8yldaTwplo4m1ZKaeG+Vqb/UXAEOjQgjHm0RbFo7vycOhnhJxmpkH6TN
XgycuMJDqdHydUsH49pHncECB2xVYx5JRIO83vVv06SQzCDlcgPSADW9WQitutNSU9sOYfIcjap5
kHFyY8QpvWMIlQnKxosReQF6BNu4csa43fO28QTUywvTst9cwXsf9kSKlWPMQYqBA4nev0k9HHFj
n8OyGylIpV68OE117UZ9drDLwdv3huQJO+/uzWwXzei5wLgplc+uxejlVRTTvRZsKik4+vIwOibz
Gw/BUDhG9KwdbE+Rm/YaWoO5GpQml9p8KKYMWaCCMXvtSTQiQfPMdJ5SY+TEj1OaXJhkxczKb48V
Z7SLRpoKBujirOnBc8ed9myST0cjwy7X7CtvGxjIzcMEINRIb7tSNQWJ5hcgVxponVQN7Q7WsH3H
Jq8865Efb4vJYvIJXx3pKaNjtstwkcA4aNP7RAd86K0A6pxvHAwJJqgaq8daMnquRRJvqxla6w+o
26YWaJ9ro94TenwN3VqQ7Ms71jRFiUXZhf4osgNJrxeRHaS73I9oQvF3fhOl7pjgP4Hubo8qkQqY
GIaJkCTlUZI7GlcwHtpMenc0Pca6D707rWavrXTkGsouyWHIRwDynKRVQ5jWMTE8Y8vK0Vw1iWes
iCJhSeJ7T74VX5lj+2ACdWf4ntz5RSB2FQA/WLxEiDooBYmkGrrbDv3bSnNS9yYE5WGSTtVLz187
cbK2Y2jNutTsNdv2bNk2ES8hqeoDcRcksRttuQmgQmPmrCFsZhYA5oA9fjdF9Qa3cXZZNgbAECb8
L2o2gQit1k+8z/3ewUaHFwKzSG22xlVEnti6TZxiE8+mEqbVNHRDGHM3rC7xGNBK4kEZwxJxL64U
Q8P7F4kIRz/eOuYicUG4wGxkScv43putLY0DccYgbQ20wQPNRbl1i4CsYH8fxKjrscmIpn/PZt9M
MjtoAoiSiKKQ/2mQ3eKYzXZEs53kV2bjvduym7WifIdGMW4U1tE1uC7gwMmwV1UO/oVZ7NINNGtb
GFgmTFe8pz6aYctzp41ftfU6wn9+OQ3gh4QoQdoYpf3kxsOTJVLx26rhv7T8KGMYi/9MGZN9fUl+
XDPyg39oYgzX1tnFMDnXLYEo5Q9NDDUasXVCCYlkhnLu+6xd/8VhxM6YXSKVYRqOxOa7jl/wRwpa
BpIZZAHz5P4//uefUsbrT//9cU30V00M/7yOKscQOi49x5SfZu0yw4RV9Z3YJSJ7F2G6dwv/0gRi
M5d8zkaOOLkiel9XQv5MMjA9hMoH2zZK3oFiE1CYle1RyuxUQrXe8A0v31gcFqtAw6iNmZr1tghs
60EkOppjo4ehawWmv2kx/G0DfSi3ReUGT1kR5ljp4nm0FOjmPev5Gsimz4wSrGELeiZUhySAdOZa
gtwcA1L1NtJ6i1GilaE16V2wAHqlv7CXYo1b5vW+z5P6WodTyYQbhU+dqAdCL3G9zOqcIiwZrDo1
3h9Ew+sEWcrGJW951SZlvMz64NLJuy9D3P1KKXOiUc4WCp0MsRGYoacS5EBLSe0GBtF9uffqM4pY
TrYyd7QJ/M5mce9o3m0PbYxsaMWdxqYZ5DH/Ygczmx37HrM1tdaY1dFac6erZUx7ioEQDT6PNqt6
KXzueEIHrdknGB4j7HsjzxPupafC8l/NTlm7QKQ7rxq4i3fZbe0G5drp83NhIsrU5wT7VjLWBaQa
oyEeoqMUNVOTQkOPwMNtEViFzq0Trl5nB7Dj/fYq6wxrMaFTVxlSy3gklGfSDRgoRb4a8xAE7Kid
KHWsjQC5cRE0ZNdqBogsaOJ3vHXkyM6rzs7s46+cIHkStRFteVzfFDCP2PQ+z6LJjL0p5R+EF+Vj
VzYuUC6j1pyXrMG8biWlVLwRcLkL5lUsHLa3id1sNi9pc7a1GovVU+nmOeCofmfNK117Xu7KbJoR
5uNyNJOvXZ48kkh2z6KpArYi70Ugtw2bYl9O1G5oPDGrELwHdNxZBtyElzZHa0UZ9p7Oa+dpXkBP
vdqTI/FMiPKvZHyfddZKUL/MF+I2GZeIX/u0PcXzUpsnC89sJp2QqZK9xeab7Rp5HOzCs0p/wh2O
V0MAY3LNqTkUIVhbWwXBTTCWuMxDZLZ9DANMuRoqG/0Gryl5Tw1fAqZwPGsvObWz6RUoZ1KAPAuA
SGx6LYKcoE+byW12Q9C91TqVvkgRaaTkSazggGwlT+Jtpzvjvs0szd4W5RR5Cz8lNDZVvtxOGsJm
fB5MpxIvFu+ZU+WEwDPJnGXnN5lTGxs3tEEiesA8sePQK3U0Tc7cPflNSnlmk71VBV+8SuvgwtJq
0XKVtF6B58pNm/IsV7RlxFWfRUvsqlb27boptCs007dWCTwc/TOEZtq7NCk2um0fAlhpbB/mDc2l
Tjuoud5ehnz7STa5E27yktfe/CLoId1pOJhzU0l7yVOceoJ2M7Ljq5r2E4brXU07GoLaHrqUAFN7
FYF9v/LRIDzYjoBoYNnCfmlLFSDbQQmjTGDrI3PpEu0OyJw59M1jjFToGelJ0MYwEsRv7MqCHXYe
DyqYdm+3LbFvNWhwFdyWPHtZotCVTqGFE6EZd8R+HxKIBbUCxlkNtKdVb98GGGuuyQmBN9150wnj
aHY14OpYk/Ucg5xnQXuEs11eKJQ4Gzpf/y5M0pfYCB/1PtvVef9QWtj94fzccUp2MqZhpNi0cCKC
L2qCF2hs70OAUq4NdaywAcmkVODk9HB7mIJpwLdonIhxI1XPxNqcDdErQ6Znvar6i8atIdfijwE1
MeyciU0MCCDtXOXGnFljP860WNI88KNcm6nsdkWPwKwaXQJpMBne5BC/V02hH/+H0YqQIYJv7PRO
YUZwu4PSxCOrTxchs48TN2ngUSa9t5CGRjyo1z8NkprMaLJ3p+DY8+o68uzUrV64v6bp8DRqxpnV
DHbXOObctpG/ap3pkvvNVRonR6y19NlU0QsLRf9UanfdkCjKfHKTu6hE8O0++hmhE0NmPmHsRGzi
9Lddroh6cddx7c5UlWwj6hDqz2wcFwPB96QM1F1OcrB+IBYTT6wecc/QupfK4vfPMEPjQ6ieK1T+
nFMtXhMuxajZ0QqePd0Bv/U+gMjDjGPahhwroqXFuoOytWw6uIhhHOrLJCP3xs5f0DKGyMHH6KJq
dHgireavEpAbizScfjU0m8SKEeNVaNj6i+8M2ygI3g3XqzamWd8ClGZt5iLzYif0ZWpY88BxTBYN
FueVSzbTiQG8/YjLvSdBxA0w4w8ZATdkRiTGWK08B6+x1VbpLsls/wZKnLOsdRg2ZEScNJTdC9o2
VywdB9vC4LnGWih2Hnlbo4kLvejK0CJEqZUenP0hePQwX1PpMpwi/6ey9u4UF3cRS6HtBItvWRoW
mTccxy+4xOvDIMryGCT4hozAufI6Qh1LQ4oDqWTaRlc53EgxeV/9ovK/uGPd7SUQ/J2XZSQxtbq7
FBB1qyKnY2K5sXBc/GbdEKFRs61q/18z099npvbPK9+34odl7/xT38te65e5gNWFi2iE95y68o+y
11AwMFCK05gQrfZH2St+kS5VrWsqSxmWMD5IwQW8ORMBCsoQ+DAImv5J2Ttf49OklGsYyEsQrBg8
1hHGfFSYEF3JE1Ej58tAq9Foz5mHkVEf8O7IXVHnh14mpyExdiV02KSethKVdkv+AZ35PsTFXlF6
CLPcuEl7lUwG/prw4MLXkkbDDrBbVNK+7bxs/aG9OP9V1PVZv06tzjvjAhDBGWyh7v7zb13BYmpF
XXU7Byp3m5wJi1/0MyIzeP83LiRNk7k0b7Y9O4w/vj2y8hoWsDMnpLjzgr3Zvdrmoa9u/++u8qn1
aHLuEq3NVRIQcRlocWsgiC42lwYboZ9f6oef94cXRD/18QUN9eT4ojO6HeAPmu+HmAB0PXz7+UX+
On7n41FsqFybQ//beP4DXQX2T98l48gm1utXiT5syPbY2UWB73dYjPq0S7R/53NCcYVq1mSNb+G3
+Piy4skfJdS0bqeZ8zONtSYQdcDZOD1/Ww/9qXH82Ch+IzB+1BN+O3t/XEp++sZMhjBl6tXdrrYl
1gabaeEt9klI98+y0XaSwWynhSu7J/WGUt4qyjmFCabAsJkIyMrG8YAZfPfzd/yHX4gPv9QnkaPu
K7BwOq8/iO6BIJDXw/8kc1f/bz7aH50fmnHWH8iZaeQ/fSHshrqkg++xm8ieoAhfKfaAsk2X//z1
fLzMp2+EbKSulRq7fCjVK9IYF31fnlgncKh+e3T9y8/zR2f145U+fSHs3JSFqfOCRPfSkg4dgWCz
KU7bEhlsmzDiL3+TZf7LK+oz3+jzTZdHggN7gLEFEIJPry40G8enIet2HrVVZftEYQbus9LjdUns
rUFsqGFVx6hxTiGRSgIj2Eh93xvdbUFgfD7dt/70plNz+jMOJmsQJtcbCfQ+BHVBO0J4TcBsD2RA
8dyCDMxrxBrdsNKNbtGE7ravIMbExqbR64sOJsmQTecucb4qLVhLdBn9MOwKiN+x/gAi5VrYECWZ
sZv1na8RS1qeDId8W/bMWcy4ekJ5aCebxHyMac4rp7gLEKN4HnpDjJZJ1exHHAlgDO0daQss4btN
WfrbILQ2VcbCukZgYekrM/Eela8uikIHYx6Q11aCG09BEYTmbVmQUOaL4yBGBDhlfKGnEeqJ9IKM
DwS9cti20oM00szQkdyyLuM4fSrK/oL02hWCyZVwxINf9U8JowFCqoqL0J22UdScLY23M/l1MLHw
MKLomnZj9d7ZY8I9lPpbFBbrYLDOApnUlBd7WpZbfLaoGRMrxIFZw3EEor6tI4J722bDyhRCEiIN
bM21NJ9Dr93iuLibxz2S1CkIR+giTbSUMOGlffDSam3RSBKJs4o6cfaJAB1DE6adDiQia6q9rOG3
eSTuNSn+npCwAEQ/745q/SXd58khH3fgFzcJc4iE0ZM0BsKgQeniKZJV3dktGaWpAaCwuXKlxjpU
uajLMAz7TorwEJIOwtDLDCChiq5CXy1kjZ7Nim+GDlhy79tvDJfSDdK3Vdha/880yvPY9RUXahX6
QcMo7/cx7Mz//dN/EG7Eovq6favGm7e6TZrvU7/5b/6f/uHv6+67sXj7X//95SvunhUIvSp8bX5Y
3s3f6J+MQ/Pgvx3zfwU24Uf/qAyFsqRuzUNM7qfca79XhsYvWHoQruPNQ/g7j0q/D0RRGPPXqdaB
zSjd0fmjDwNRsMZohvljUMUgVL6/Fb+XVD8biH5+oiA6MlwYKYic1Q8sgiykW7vOOd2Ydbd5QZST
hr82umT78Td3YHt+Yv75iUqJMF/L0A1KUTHfoj+UC5OfhAgVu2ZnCu4PTWN8tciARt+oEy1UWNeI
/bZ8d5jGuTwJVKmaY+9UEWzjkvSUwL7DGtMuzCTf4Q7ZaBW+GBMg1jaWxP05Iid5I/C6o0QAhu0Z
Pa7mwTutTvSa4zoPhofII4vQ8MeD6uyYgByW3cS0XTSjeI3QebJLbci1cC7iJFt5LYO6tjUZGiEn
Z0aZHInnI9qL+0ldhe/srWBoQlOQDZOJKPuGA2XjzbxR7UWH16j2rqKmPw+h/qUAB7BxDeakgCoI
2Wnym662p6VAkY1kW4fc71c7A38mKkGDu6J9ID+STI55CmRB5iT1fWjy6m+KxPmZ9+kDocUwJU2J
chT9yZ8/kHLQaWSYcezY61+0EH8lWRkfvhG/H7ePZdSPL2ELg+Nt8OPzI/LDZ57ZEcSaiqeJ1DCU
EqfXk6/oHn5+kb8WK6Q+SZMvCy+F78ung2UlDbv0lIvUZbSHtHVicHYZ1v4/Lr4oiLDuCokYRqGI
+fNrCSKVtk7R1DvbTw6TAFbXqPzNyGc9WxLe/fw1ze/9589mflX4J00aQPWp/HQmwCzM/etdFA+P
aJgx2oXpU0NICCeh54z42uXPr/ijj8qa3cy0XFgQjE8fVVHXcaQRDLTLAL6JrHksMnH6Ny6BXQIW
pGFwuOZf4cNpGOxYtEFW1buhzK/iXMEG6v7mwM2/5V/etw+X+PQhMcNPvDCu6x3RYA3FOhIbdAPP
XDCkD5rz0SfjrmRJCpHgd0rov6z4fvgOOpiGuMtjL7A+fZ9G3WVEj8hm56OEW8c+u9qJcMqfv4c/
Ouys0P7zIp8Oe617ftcUOaewuw1oQixizSLuaz+/iv6DmzWhouDpBRMKUrM+vZbUNLq4sXktjA5I
tOy8sy+NV5ZSlIhttakLYz8W7XNYMj6LFfipn18ft/tfP0iAnTjnHd3ACP/Zz6UGfUrIPaIOHfMM
4yLGmKST7X2WaOlOioEoCbskqydQ06Y0irfMMp/7ieSSvnyZ2v7XFntxoocvTDtfJSJDeNUDip4g
CvYqIfAVyUuNv0/lWLqtZ0sUlzapHQdwMKy5vR7BYm+tY/SeJAadPNndOhKBqPBbeRwLKMWFQmzU
Fc6rqaIzoOh+MdQDOSPkkyxDMWlEqRWHoiVcUjlvogRkZIhSLQN04kuZZjs16V9EbV5aRredhjrd
yNBHNJna+TYW6XBACBTtmDPrW1Ax/r5rq8cAt8xzPxQPk16rjYW98IyehXS1xMy3Vgqrm/Q3QER+
dafKurtqmvSIW3abBKOBPAgvYVBg/zeynqVAXvdHj6zGTY5f5SJvx/ueQnU5dQKlOPCTTSPTl4Ac
jXXW49ksrCLedVghLzHMqGuvZDOFHFa/Jl6uwlKqdARdKjnZkcLtb5FEiei53SVD7N1aPsluyi2G
VVBYb66UV8x/j8ojBrBEBENYjL6oanXbDN211SQPgTtckvzzAMX9WpTUxyj6yH9kZRs6r2iBHj0v
xnaKpgVuNPpecErxIizVDtYs0osShnVObs2iCHBZoEAzt6iqk0Psw8FxETOxBoXmEQdAT/EzsguY
a/DUEoyxFDb+NkgRfg9aunECPhIjZh6NrY+olpDwVjNP35pCVSetcqFDD/4aVPk7lgiGxMPwlovs
KZAGxpXk6CbDOcWytfK9qdiFvJzNPDFBfx68IfiwF2mWXWgFWnvdc0hs786VkRwnh5uTmYhj5bYu
du7+2ptzv62exk+Vxq3woBLlef2a6+5l5PoPZS0uyGslATLpGgYQSfQgu+owasUGiAkzf92aDqpK
L4YIY0hulbcdQ/cQPHYd6iS+MSbutE5fiV6/d6tsa/Mld2rylcdaN5dcgQTuOd9W9aNPGzdFcjMk
2GWWzijmmAmNqDLV9uMqJpNtoTuEMlM1cxcs/ft+ltmgJouUc4eyxV0opSMcnAU5AmWOPUt06lms
gyjtqa9sb+d+E/KM0O1ZTyS7DJWPidqnxh1AxwUphrtAuiTTXexqPbz2ZplQzMN/NRisIZi2ousi
IXPXzMIiMy0ezVlq1ILdtgoIkGKWIQn0SAW6JIE+KRjFI9mQ+3ZWLZWzfsmYlUzYkspzOubOXZp4
7c6cFU+YSqYl1pRmO816qGhWRoWzRqrSRm/LBoTIHCGqRT9rqbgnPweQ7M4lAX5rz9QPZJ7CnJk1
WIOREBTU6N6Kx/hXItS39GLN9TgLuIpRe++ToFoN/mCuQtb8S2Pqi50pCWQm1I8cxrYq1l1KsPrg
WPiATY669IbrLjaf4Z9Wq9pw7yhL3vORTw39EZv8gcjjMHC/NLNnPbJLClUPTVBEMDQosJz6ubaa
NTV7cjci6FyNeKxQGcYThqYoY4PefK1cADQ5fMyDF5hqRUy7iS25eowG/6Kz3SP5UGS+9yiXplAQ
s1CgY+8TmH6j36DFVzfaDExVVh+gjWwBoHrICqkVsCmE+k0uGnvbNW6zhnZhrmAGPEyNphaZY2kr
L+uv0edOG4l/KrS622gKHquGu4rO7mjRN8gf8QKyKQ7C/DiGqb9pEudQuINadaOJ6bxTtAHi7FXd
hmgsNqlSxSuzA2TolFHDt92JFmXs79n8PBhzQL0bEInaI6MnM8AdFpmEA2eSDYXo40vmiC/pSPou
+hcagIp32SjknY9jfKGpTNsWutz0RJ7u9YK+33Gse4Ik1SoboG3Ek/uQj/5WhFG+0UL7XvMDCZnJ
Gw9sEIHCF/o588bHOs3rcwUvzyC+FEYGLVE9NZcBmQzIO1i9NZO306Cirsc8f09ExJvfZDHDSLAe
elHLI2Gx937Nk2IgCQCoOgpMQ6/NTRrYBZMmxamzZHhgUolSteU4HEs/BSYtvODazLtOx4uJLa/p
BbI0NTxTVr0E5ohDv+Wm6URt/DD04pbVwFvpqCtCVsx17bTOusrdkCgpIknLJPmqx5G1nirT4yGj
+dfJ0CX3RMARkGvWC6/nKA6m8agzDFmVFkLrjiDfDSs8OPV92qyyGpwyFN7uKi741oAoYSsN+HhY
tjEZi35Sgog3EnPGiaFtEKkGVz89TNL8qpugv4zm6zSQsMCAbyHQZB5Yb/gbn30ZUrKbyLBeg3jO
WXCJ++6nfe6YDxMBc7h6gExVYwgVB6DYyvBqbwW813uEeuOsRQh6s5Jmusz7+r0ssIMj1PGDQ15n
27BxnA3bHsTWOVGf5XzpIHKfi0HsUkI3StvZtJyqpeQ9upW+HFZDlBrHSUcPiEK9v0gzNMsl4OAq
Quyp5fIMSOFqKjPi6UV9B2fh6FTpxhcM5zTcdau6n772XrxOWiKbw4yNTN4Qk2Omt2lkXvYjg7zW
lQcvrk4ERCJhVWKHVH3n9wlOKOtXTXrlVUEU4cmp/J60AZ1yoDkNTXfvA45cF140rikWvybs+Be6
PpK14jj3npR7AlPkuvX1Zj/0EPIaq+AvZMVLUifvjSPIoncBC0c9VpMKvFqONt7QLkruxdYcsSja
ve7rpyoCq1HzKAkjbDnTAG8tJUXB6Il4jcCs6qO19TLtCt/bl8JjXyKrpoFfVDPHC4h2Ka3xhAj9
xSnGi3qyJf9WnO0zS0JBJTicVJmQFJNe8w4+JBXEuhJYkRdPGdt0kxgcHRHrQsNFtdSn/BU/tb8S
Wa6WSL6qZV8lHR7inFx1xFMrp/TGMzF67W7Q3f7NSjviIqSGeTEsSTBgk5uMOXL5KBoYCk71uVf6
m1V3ZDSaTcuhKG2YqzExw24Rn2s/wgbgEhur1QctZaPBLMkFvVIZhx6s899U9j9oLJVNIzs7NCxM
up/6B6QVxFvGdLHIBwK1daFW67gzzWkhbfk3I58f1vDzzAen/LwimodPH/q9HvRT2+lcizMHcq9o
nuy82vy8U9B/0BApG48vnes8XTM/rSoQXPe9sGkqDTsGk2iigSgDf4WA53KYvA2Su3Wl0g3mtEcL
zTV6Lg8zb4byxSE+B6RJnZDAxaj357/X58Gao1uMVFwdKKbO0EB++rUA7IOsdvm1wnYc1mGI15Sv
V4pd3dl0rbv+drXfh6G/D1p+m+t9HJZ+nJ3+xx0w2jz9/y4Wbp4j/mQIW700897yBz6m+Qe/j2DV
L9DPXBDRhDMwheKgfh/Byl+kQ0AEc1YThekfA1joD4JVMPPV/0S7fR/A6r9wltk/ku/AAHbe6/yT
Aey3A/pxZIFJCvsSmtdZB2BI9anVtjyzrOMRUrLX93jrnaOP7ks3NuF0lfX9na6YXprlTalZLySd
X8f6tA5VemX6Pc/lSd3nI0Nz37rKLONNi4hrRg0VzzMBysIsGXZzQoR0gsc68y6CFEhSU/o3LKe0
pazCX6WOyAb4s1oZStM3qlJiGUDIXWtTgqbSVrd1Z0AtTA0UX5K6JNFesSDco1iLsV9jB9nWg7Zp
i/LQ4nNeuL77xdfpRX1QnY6YHv3SfohsmmWC63dhSIClbh8pAy9MyDxhjUaNDNSkwU0fiz3GhH3o
hztvinH2EzO70KR7N6TYfw1zqVfGBsLypd4bOznD1KrAAtQYbDsQXVpBKSimXq5MYumXqma2bGcw
i6rpSwJ5P+xj4rMbpLARO1o0tKc4KnGZ1+eis4/0JvCd8AQZ7fSajHiUg9o+GqXA4kKDvEyt/D6q
ssekNE16TeNS9tld2yfXLUOUZV5Sz1PD3Taiv/IlIO7C45/QE7LvcHXVEO9G/aYz3ORcIwlbjlPg
LAszRv5Yg5gMJicheMfQD1Y+hnOMDvJKnVjbQnZEEjiVfUBmthN1GqyKmfmo4z/YIEwjjIjtxsOE
+P6U9k53LOwBq/AUaqu8sXro2pqL543lGKQhf4XMoTtD9avkypYUamQcu1svL6h0ddvEGmb268ak
piizFMXmGB5ljkXeVOdUZNf0f2lzLctUHYJWimMuaoiUooJ0FmMMw9ddEGQRhAZWFCf2MDj1xX7y
IzHRP+A/os+DlesFFWVaiiY4syGMopOz9qkp8LhnBCcV5qLFuj4o+5yM1M/lcEe5ehFAPF2K9lsd
ZdxS5auz7DtYojl5S2dG9dGO7F94VaqLimNf9+pQUI18KSntsrVV+sN7DmTvramhQaRJdBebbFjd
aUxXRTU2pzhlwxqTcwYldh1o496MrGBPE8sRYth48DJnZO0WmFvfdsKrrPRPtu9HpJyyjvMssLXZ
GB9J2rAXhF3TvkMRWBRl/V7HSMbNhhytlt9l4TiUf7mfPovSV89ZVoVrWWBGH1VC89LYsD+b6LWl
eqclIZHdNttumbRp9cRiHACaMeATLwt6ODv0WT1O0IUJze4ogWM/X5cmxL+hC4dVOzZnsupvVdXu
szx4SoRTrxLfH+lkcG2ROr4faTf3RYERvyrSfls08sukz+BtDbCv1Y7FIoJySkeEm9gI82+pXvgJ
8chU5Rw1i2sv71V5yTYkBFwxPjWSRW0RoMkcmcjTBdZUczJ772bbHxmWKHan+Z6R0eTpXiKp5+pH
FzFuYGvhsRwyDReyi84nIzLOpo804d0tQ0JHgByLpTcE6cZiQL0aq/GiCLWXRgMTq7fJc+uPp9Gw
V6HHbMi317kwr2yDXwSbG9JF06ERib7g5X5rTNTlAN2PpO6Q1maW8xq0eMHISlLtiH4SdhZyb6Ha
bZNQolbZCIQFjOdKqOlcZONrQzjl0tcaEp21G5PZHOYyZjqRHt93k+8DwhndzcR0mDUrClsjqVk4
MxgcO/JpkbPfWTVjHTcsD9yQupUYwnsv8Z5ymJkMDqSNqZu2RBlkPyMfuJpyn/bGQFFcsaWlzgHR
XLyUY9Ju9QGTOSgdssVMcMkcPgZYBbBlTAc+2L32vRjK5G0cKvz6sUlokE/NWzs5gTiJNH8tozrY
MtQ0Fn0l7FXbjCh4vLzfwQ9hF5TH7svYEV/k+lBIlOok54ABkmXxiagZVBKmsCcBZvRbLWgecDDQ
ZcqItMnBuA9078L6xjxRNpl95ig08I3+qZ/RKHQqhArPuJRqBqdIozt5dqJOSpRI0YbwxZkxK90M
XBlj8l1Q9bfVeYqlc2QewPpuRrTAalEztCWz2eljWf1q0uovYm5s63GmvBgz76WeyS/8nFpBdqx3
nuYCtJ8JMWEEK4awbu+6GidyEWeSTDszZZKZLhN0LXnjZTBtRAQhdcqJTkxbHIeNLdWNNeNpEpA+
l4WPMZcEs/rST2hBR0wVSxODYwerQEdZArQ3u7JVGVwqXFZLSUqnbNW19IU5KzUIgdHJGAUqh5ux
W5IQRTvHiVszFyMngqnylsEC8wRZ2nzKbD7Txh6QfXLzSs14xYirXAdmmzHzDfaxDntEhSHjEjws
sZW8lXrPpySm16BmfBAaFPlpl25VSEsYDbdjNK3mwL127HfGhO4fx4YfMiYIQ/NKm/KNbNQFI55T
nqUc5VF2q2J036pIv0CNf1c1cHcGuZZRT5qTeiLyhpoFmg+ZzI8JLeSymWXEKEQYOtIum1P7dQZb
I+p378FrbUku3JQFGbFWFTMKaKA+TrxTTrUKK/sUBd42CqN1P4oLv2HqkQXu18xoNpacrdXVdeoC
vnam6n7QHWQzWX6lG972f7N3ZruNY9m2/ZXzAyxwk5vdq6hestx38UI4wg72fbNJfv0dzLqBzHRG
ZSAvzsMB7nkqoBIOWTJF7jXXnGO6fb1jIkhXSZM8FUV6sVAN8X13jyr0dnlTD9uW0aBR5XsMznBT
0nHda/wZFa3zdK6CAGehfMFn0m5trTa4SbTJtVbQy4BiFSC/zaa1oTsjRonUMM6YDIQLMGc0gyeF
RuJrbWpcOmsywNvWYkOWpdspYZs7Hcnqeyiq58yjatZFDaQZdE+m+dxB7SfPEGD8CKY7sszxKimi
W3vOH+d43gGz2TZpAL23F1toQVfCJa+XF/Kk0xjssM3wvOhoK42MYfFGu/ZyxtNOAMlPWR0/G2Bs
uRvpDqIc3eK1vSsyC8+yC+zOyXlsKEizFcwouEW+lQCHqWeODdC7feEFR81pH3i0PfRke+lbX+MV
onqR1s6wuc08FePC60gcpmu6zXQdyvgg76JkOJYaW5Y5OASX5hym4gZfODOxt3Ny6y5U1mk2om9t
bh3LIsENqTbwiygNKmF/5OGVsPP3Xiu/xnXRr1y0KWkV117T3NSqfh5m896YvWtpV++y6961joBI
149HSqIoxsBRWc7W/x3o/nfEIvbHyPGfR6yrsnjvszRu4p+OWcsP/xiznH/ZGJxdqu9o3JPuH8Ys
m85tl7Wojebw585tBi3hSDySjMncPZcf+jFoQZKwKafih/hZprd/Nmj9trP806DFIl0XAmAfLm0L
EuCf5Yi+aJ2QeEt0iCwKZqZCFX468mzjpJVtjIbdwrD4vyZzcl6FmVzNdf/dmKuPvDffIeRwYbrR
G12dPGaXEruOG3xbRDegaU9p4n6ERAwA698GBvf/YewehtkhElS9QnV+1vPsa+2Jm1BMT0PcfNVr
Tg5dJu9ooz4nWXgJ++EA06dASp4epA1yqw7aUzEUV+1kPPaWIDIbrBs5UVnMrTMT16aJozDXpmud
noVV21Sv9PZdCm94pWXgezblN21RPleWoK9Xkiaa7s0mOHplSIeJMRBLbNvnctFfC4WFVhjOFZg/
1q0E6BKZnimSuC9k+5JHVPfgJ6bJmXVlPJCwjYk6Fz18mPw9DtMDoKIbWbmPZWviWeFqyhqXrqCo
2WtZeuqayFw5w7QvGzZ0BvypisjMODSb0QjuE8O+xhh2bObikW3Ny2Ba92lN9C2fNgm8ADS5hVil
cWOP20s+1dcB7hzifgwL8cG187NhiVNaYtDFNXQFdOzNtFJyON2hN2wWf90z9O+RzqT+oLnJnhXe
Os3cU8nhggQTveA4oF5pA3gpo/qiFdqBeOiNZg5PgTGTYwq3Lc7D3psfbG9k5Q2KQSuso5Z5G7BS
ZwTDR7Bim8kKwxVgxm1Qh2+ZU6vdXFFiylPg1smpf0kSM+Q+KW2wUu1yBmYvR+fAW5Yh2afznPqD
M7C24zwazKpeVzEPLWkFzHswLFZuR5+DhchPQ1H0ICjK1VJSPR27JG1gRxHqFMZ6ZgweztWTM2S5
DsabJTiNesbaqEeOSXIhwjpR5TPh0azXtd06ibtkI5uMFYHmnkNzepTOBIFdS6K16iPOYl0c+4HF
+T3JQCVHdBZyuguew7x6p0XmK0+PY+hFL9LlmNs2EqW+ZfzLOvXRIz77XjN/T+tQ2xcmGU8O9Q9j
T/HC5GlfSlocYHV57rqZ+luEcHIuiflGBuziWgsLWLnXKlLUdkbhR+81oMa7uFqlMNESrYEJQb4J
BXtdcDIQZXQ9jd7GMDoFL9eA8BLu03lZVy5lymCelxZM08+M/CmYu70TeUCwI7de9b12BJFZfyHf
u9Xk0HG5Ci7XMd3JePRTa8EeVsML96/rMR/3Sje/5iUK76DmHR/9pa+ppW5HFtDJ2OySzrhJ6gLo
orsrJ1RqJSoub/PKZK47Fjapuc7Wlmlh2CTKeHet+Gs3h+YKQ3Cxihz9Yaq9K0/J9dC+pgkvU9e+
7JbRHX2lGCUVPun8JDzWdrVc2ntkbtI33V4gkrCmtQBsqTq7VpqFqGl7hMjigXp703m0RxsUdsZ+
WXj7EFZj7PH5xEp9Cb35RnbzkWDTW1x2WH3z6cD/BgC22Q/3TQJgqqe4pHUoYW6AizPMOvSfjDq8
MCQJba67rSJtPAQRgjdwnJo/UD04oGVk8xxSOsweD9JxQFrWtq0D27a7srBO/WycDU5mYVxOG0Eq
NgKnScX3EzzSfWS3L81IkNee2AW5mUzWrsEOlMnwTAmS3EW2jYeb2jFK2tm3mNl3kpkn1tmuz290
AgEAsn8I/NBuFeGqqitfZ0QDBRCrg+XiMJbSLqZR7jV4Tuhjkqt9CKQ6DBHrdUjKV5Ze7NMAcmgY
btd5k0wrnjARXwiXKlfRVYfU0Q4jx59VVSYnxBbg32F1tmekNydpA1gd8YgSpk9vZmS060DDnZ2k
9BMGiUvonGmbG6J3w8U3bZQq8RTH/NYZpgKzdgMfj4qOjECQXHaR3CW1be6NYq74D0G9V4En1laO
XGPFerkPaekGYBQAJ7U7kzhcG8NoaZvkIRhwIxtsLDnuRcgag/qiJ8phVgIiAkmS4mY4PGdp1gO+
w0IsdeJfK7uI4Ivjh6hYxq5tKzFOQK+Dk4Uqus6qgkK1SD3lDfwXXU5EAW0QIZ1JEQ6l9+Tvmrs4
qC4YOzde1F3lRrnO0sRZweu76hpQtVT4sIFB8gQ6Qn50NsJt0PCZVWK6Vm636b18p2T25tUQYKLQ
/mjL6LxEs2kYuImK3CZ8CF1orGxtVTvmYxEG37Q4vtdDjC5eNz2QqOTicYcbu0bxFymcjciiI8Hj
Wzi09aZvg+9uIVjI2N5LKZLHUha7sGu2ztjwT+o57DtDe2tL/np1diP0weF50nO3MKgXp7XpRrj1
2zhU015PPeYWU+y4pHB0Ssz25NAtblDA2p2lAdRiMbxNjdzzi0nEL65T1JCH0tnyy8TsQr+oxp6H
UUH504pNLbntfLpTKbU15WyGzzFxDF8GdrgVhVHRoUm1l2NYR5sU6GroLe8jhpOIVSBYCt36SE/w
fiTWm9UJ+56nGR3vi/hTsXNF+gteLHShDH3ImJsbtQhGNXziq7q2Cw5CFTzaRVgKDT2l4iKf5WH4
TX6S2I2eiIWC1FvUKWMmxTlG6p6pNPNjLwa3t6hZMzbfjVgUrlAlX+g9c7b94p9pFBBCPYmhziGN
GYtGpunYXMWim9FEd8KNbq/0RVOzF3VtVsGVZqO3WXyMe76DA7XGVewbizgXotIVqtokqHZpQni2
XIS8yDBJii7iXt5kD+0i9ymPDZDt9jMY4t/kQLxBwwv3AfuIlgtrgL+F38Ki+wbBQZ0wuWg3c28V
I0EAN3zwvPleLMojNSMVJCDrzOP0AbIOop1zQ/j+GanM5La+mDwmJKJMHhwzFNjup9p3RUeZGscI
d01HCwv/tAIymjVEDNCevMsQ06q7QsubLKwRpNPjCfWrWJRVnGb6SS5qq/Wb8AqvgqOle2MjycKf
gDkFR0cvQ94Wam27yLbDIuAOi5TrLaJuK6x6aw/z6zAHX6zImWroryjAvJFwIYXChl30YZoBFYPa
ohkv6nG26MjToigPi7ZcLyozDWrptlyUZ4989qEN02ynSlO9NSavg+ULc4LE7tXLjqzwombbPRwr
0Bq9j2Tp+s2iejusjW+cRQk3Fk08D+AMDip7nZPpPuvcAXDGcD1x9Wzgd/Ezriy2Zt9J2uTjeh/N
tKQ4WZNso0EmpKPxkPx3LdH+J4cUlljRfx7ert/f35r/uvp4K75FH9NPB7jlH/gxwEm6iUDzYbj8
Nwv9x5bM/JfObkrYjkmTEN7W3/dkxF5ZhVksePHq6Pz07+PbUuhqY1W1WZQ5OKadf7InI8z+yRFK
xQ97N17JdExT/FYn/8dtctSXTa43DBFj6tyUooL8hZikTdGpyaKrQtPoHPL2EShvmRs3jWOetHmk
wyu9ncfwI+49v6nCXSLoEFLGHQLQIUJmY97S7prC4XasJ8fA1J9NLTrEJTwUxcMnC06JC1HONq5c
M0QK7j9seipZNE0QQ4pXsKzlCiISNL552o604wUgCVfKNu+nVNzWYfelKpsreOAnmXjPyIzbARZd
IvJ3sBm3kzKvvNZ5BbOw6VlAUO7l3LkV1mXdrj/CkQAnvwH6bEaBcvdcBu2euXVf5OqBI/tT6A4j
tLnhOgaS5Jk17FYLAQUfHTXp/PN2a3PQAebCU1V/1sf6riMY7+dCjis9xPEw69nGVOLDKpqvKClw
hdWtPnYgm827ImuOyl0mR29gF+BhoJw/wLevXYtXzYbxUKv40rE1oxCcfVGl30MIeNG78eL2jKym
eceC3OShY03rrKU4FOuPVgEX68JKrSK3WvR8c96z3TROpiKS3BrDosO7+b6msmQVDG7J/TtHb/Zs
MHNAyXdFHZ1APRpbNywQRccpu5IEuBqFNKclgbWGCVMigY7OlibM4CG00fKNSlenblbNRiQsD0bW
att64BCdR7OxU9nwRDXO2smzcTUE3QXyCEbOQfqsiBOOe7VaW3oN58pL4MU0t64C/OFNlb2ODMYZ
U3mMMm7nHrpMR4ILqm2ibMVCFbyK1zdfK4qa1lBuXgvV3XM8CTEQhq85OJVNm7b6KpsJm9BIgSJt
NU9ToaVIXsw1tuyvLKPfFzBnV3E5Xk/6DHXH1I8wYzZm5HC8am89qV1wyQ7LIuKLl8p6VQ3GNcfE
eKNc2jr52EggmveVa/PZ6iPcxm4PVP5Vd6CtZNbbkAPyyuMoZPcW42UrogfaQmF8l82XbGAcsurp
wpJUrr02jX1S6987k/8bViO9T3XwEZbgHvTOds6GbSeXJmhOrWld5UvTHQ0ydGs67RVxgJYJJfrq
adktAVNoPK5Fp2WXPFUK5dhEl4hDRV24KsKN0evj1gy1L6ictq8Ncw6Dv5uwehamH7t9epCTPcLm
5V1yxs4Z6vsE1DAQTzbVt9LQqn3eNga5xRj3HV7MuSTWDisIm6K9iwoNZxuvu4/nnKWIZ01Hmomv
05ZVy5zp2hEfKu2udfs8mvp3uFT3Xh3rzwSS2L2N6bHNScDTgNisxUhTSzl1BkY/m4nMaAqOWNab
RqEvv3MWXfTCa1cEMJut6ohdcrKOt2a8+KXgKAGm4PwOTo2Z5uvohA4H1PgtcdgkcG3f1nrIwRkL
5TEjJ+UnCvRR6nYADKvKOeZ0tfmMR9MWbYGP2WwkxQghQ3paaifhUTEsEluDLJGcCpOVXsBu3aGZ
s+sJ/HstY2vV1ahVXXfruVxC9qiFJ+UUtz0iMnZKzLUsSR7bIL1voPeuw5qvoNPKQ6z0M+3FXHTV
lOxwG9GT48XpqvH0r3GpvpmKjyZH8QI9OKQbXeZvVTbfOTGz7TgIhR+RScu285i1ZAMuzuzHlcvN
Pew1Zy/R4TZyhPOpRZQslkaIDwKC0cbt7Fs++UPamB9m6l56x5oem65/7qoJr2uSP9t0UW3cWpwi
d3j5xuQHCz8cIDanpCezfJR825p5LdD22bDgqfaa0PZd7PN+mlbQ/ahOYiaqAEa5xgbAxoPKgUQD
GFmOQ9yh4AR5bnkjVHxHc9HN6FDC5oRwdUCqlBuWHO5Ba6lvkKP1qIze8I3Q2xsNMPRC65Nt12aG
z4VzDyjP2FDZ4O1izJ2HyRzFmn6oelcYpA/CqrH8bB67YoXhGpJMOUSbvEK5YdsBfKUTgy9UY+6g
s2PpBw6+hjEzUWjGxEYJdrghQ91etLQPaE1gM5Ea0a4Vg7meRKN8zVDANKEEbYBZVEcjrqKdqZxx
JzNAXXKW9vdqmp67pnmJE2OUR/qC6r1l9VdwbNedTEB6VRgFqTJ9aWsqPYbCeS1m9Qo5qdlKaYU+
PXVE49kFlPP0zWhF4ktauko2PNyD5TYUJJaFzMRmKObMzxIn46oFZULP98kxxmJduspYxQXTQxg0
ET5DpzpAmez3tdNE+6nJZ3rEYUmnxZyseq2YJ+hiAb0KTGrbVGXmI/YJdyvSuDhPXZaGvjGihq5i
a4F2DT0ewmF2r/TUkXjG4ino/AkY6sor+/jMf6LOQKslXa/zY5NA+MeryoBmstq27eDGC8BfRJl6
kcZ4EhI2i8xuu3F8MhYjtaF2ccF0zIKpbecrfs/v/1+cVXHJ/eez6s1bTMfJz8+o/OCPMyqhWcsU
BAXASFNtiYr/45Rq/ItTo+OyLnA8l+jQ76dUkzitEJw2QIkg5EjACb8vGUi+crT0hMFawHT+UZeP
aX4OTnFK5fzMIRlPGb+j4HD9x1NqFxbABLEn73s98kDHTlba7KRF0dmA5Bmf8kpdenj6bC77cblR
G8lTprUJeIVuxO+glXZ5tJb63DZsoy1KcdvBdue5KwKKLEKPksh+M9C264nbUTMPnJTwE5ExpcA9
Y1dtVRcnYDLE0T7MCMJBf1C195gN121Z7xMgUHR5sJAct031nHasEDAWUNmxqmLwfxzXTJ7D0ejX
peWn05uwbikUW2G9Ojb9sjBsN1osN7nRrrJ2QiZhy2nRqEGLjs6XEYGZG1br2xGk/TlaJ5G5NrqX
Spj7lsCVI64iI8RuhCDjVKu8Hf2gNXdJs9X1d88bMHWTs7G8lQzp4ZXD1rFfp9jd1V6+D+Gd8cn7
Xv49KdM1fYapYgrW32VfAMSmp26+bl15nu0eOWVCQuH3Y2mySXAhFxQjh/2myRc/+tHpnFWYaqtE
3chc+iO1AOU0bVLG38ma/IXfm3bVPnDV1wnstl2BbqvuahrSZ3QnJ6fBurfXXg1di1rmCWtcioOi
TedDiLdgsoEoOO6ewiTeXX9kaFpH7RA/DTxqURkPbG/ueCqSGFsSSUg5UYR13qvWAdg2N7E4hFZn
1qI3Qs8Ry6t1rYvrDq0prh8qF4qZ9xirhsdlsLcp9sijHaT286i+SFFtcs7RFAnc2v1RN6pdSgV1
ijdZDOSNPYMf4pm9oCi6hpX7WheLTT1iyUzBwajWoYTvaDuMVf2pmuPXMe03malvKjbV1pTe9KX2
jfgMiS9o60kCw7INh1tDAq7oBUmNlHrmqDh5CpAaKFDK85xtXjjrUI93FWV6oPJ8Q1OkLbIvXsbK
uZt9O+U6wdY/8XnW2VnS/tRj3sn1eUeL60rEjh+A57Y7QL053d7oTxUSgxwVy3PzoSbKYeXGehzb
r7OMt1Y67etxOghOBMxZqxL/iWeD0Ky+tV5M4d186V1UhLw6z0Z5iJF97dHDTK9oOIovgBcfItbS
WY4kqqzLYoiUWrHtqXzpXY/HOc/g7t3L9QNjyJ6mwxeGo4NJe8lc8eXo3GMPO5Jmi1vAfTsQi/uu
LNCluzVdHxszNLdhnj8n6bDpenWJav0M5euQO9G54N+cFCQUDcJ7Uu1wO/nTxGalHTewQH0D+TjI
g2OgNTvcPoyC1tqIA57m8Nu09hCU0alW5ilt6Sovp3NGcmTQtE0Rd7eCGq4G7n1ndvuiYbmUd9cZ
JzOX+cNT+cEdk40zV2wNyE1CiozgzAX4EI0sSVfZsivg8PocU2wJfaPa6lEILNDqdwQXViPGKUE+
0LaLzqcN7Nzo4jFpeTMFpbpVcuN0+SELCHI5x8xGDqJqZBN4NiRRY98Pw8N/17PxT37p3Ud5ecs/
2s+O6f/JYo+NKPI3D9Dm4y36r/s4eivKPv3pg3T5B348SOXSxkAO+9/CjcPj8seDlMclj0/C/wZt
AuYfH6QCuQcJiDW6DSfLW7SjHw9SHcc0z2X0GTofXB0l6J/Yoj+JPdjnoQZQkG0JG1zZZ1P00NT2
3LKt2YfcSFTyofoHp+tWLHx/4dP/rCp9fqFPeQid8HGDqtPubarWdPKjVfUOANX/w9/hJxwEB4Xs
cy7dMcEe81Z0nZvqklv/QxQi6WmYtYao3cvKu56aHnKkBNNqlA1xrswiS1Y4OnCd9mlqwdbG2muE
M2IPP6H1+8yhd94KXntZcvMnl72XffmAla6ChA7C1sqv4jrY6LPewNcZr3SMhEDMQ5yYkFrJKVGo
K3PmazG4LzgvL7YSch0Vcw39022geMq90WJOcyfQmJMR3eki6Tc1SRGSr8ahNrBGBURW1r1iHE3I
mPoRdmffsELidz2IfLuRao0vZzorloCVnjyTQhTsrZx9PLIy4zRNVdZBaSO+YDx/HdvsVb6EcAoR
IWMQfeYQvXfawWHM4PkUJjGS/4K21Fj5SOuboQtoaaHd3Saq/woYc9zA2xP/D5cDPyVx48NskctB
8Y9/J8tIBhSgJfeOsL34TIVNEOgXwIqfZENwvECzNvnuweT7dM1J4B9DYse8SAlVUlXja1077+ky
beda/faLS++vV55nWwYnAEE5KmX1f35H5aTF1GhNYFd6FBUQkdF4zijeGWxmm/Hp71/sJ5e5B/Ld
QD72YEh8BrQB+XarwJLtvqI5FQ+LQI36+1dYTDp/NPHwfYXz4S5sDI7zIAL+/HbqNJUA8Lkx0A/X
+YHZtr4U8amiO3lTZc09Tu34F1/e5bv5l5f0bN4Nl6zlGMuR/w/fXcsITfK5NveipAiIHoM/bLsP
EAlvaWpfujJ/U5Fgrhyjef33b3a5EP78ytwwUM89YD+6wa31z68cWqnWz7VFgCqmV5G0UludQ4yk
Db1cs31BgfzFp/vXt7qYsJYZCcHeozD1zy+YjFXWDaXq9rmksMDBYYD3816RRufK2fVF9pXPF61S
Rr/gdlh/vQ9zjQprmewAngjj0991mKOmagu72QcBBpnKmw6VdS0C8zjWk88JVPrmgLo7VI6xhj/9
FEbBJQ9N6huj+ilpZb3tDVyfcKupbnDteoe+fN8V8A5Ys9J9ZuB8cR1WrBwvKRyHRU6oNbnva8+X
cU7SBj9NOjKW5OapGMvrwRvAj9t2uDOFONV4rH1Spxz9mDzXBBAdnJKVu8kdDrcSCHxoFGfR8ojS
lL5VkxKcrof3IplPxRRekomeITLYXguqQ9btg7I2lGh9yZL28e8vmZ/k4UDN0dwqDC4dnjSfrlYb
PGKMCkceLj+NSEVWmFFbae1EyAhVEtAhUhBxqOQW9DXi5l8bDQezbN2zPYCvuP/7X+cnVzC/zZKS
AmXlys9snghjs8E3pt0vudGUooZ+6jE8RbjsuPWzEW1ttf37lzT+entlsqAOimeXwRD++Vsz6DUt
PAHsHL2sGCCpvtCeJTHOorUAvMd+ZdyF9UQBkrtrZnWqqXphWX0YPDqux47K7uzUde7a9YoNbMR9
XxLXYDeRlTRKWFvRhzdhMn2f+9e//71/8t1DN9A5BHMoY9f2+dFDTx6cY24z8IcZ3YYLhXi7qo98
b3jM6QCvWd2mQ/4LJs9vIMtP9xheFty1aWOKtH4TNP5wd+slkmzY8ReKG3dbFVd9x0CRghZXDZOr
eo6aiPivZAK0/SGHHKKLA03A2y6fbhri7SX/za30taKpMG6jW2yWK/Y2KB89/onoanLih8kbbmOB
pT4RFFZ+zJECnow9wiEPkjrxlReNBxFnL6bGV7Xu59ukim5a7u/VGG9t/HUcF45qnk+C8jnKkskE
j5uhGnZU/t0XlAPpunNosukXt1/5l2yeK7iUKBPX4WSZdE98UnPSsrNmZ3DbfRc3tymSKEak+sXp
FpnRo9dkspnDu6KSa6vXTzgNLqahnjV3JrABDZGCB+shDlvuMYZkRdJwENMGq/LDHE51VDzGIX2F
/dwka0SU2ve4Fn3A9/tg6DflUN6BdrnO8NGcvLHN1mhelBBqmbalkeaexet9iQuVOEUHM8Z80ERu
b8oKCUDEISFTTo15RP9BmEZEYbwGk1hN4Ml19vOoojX0mR7GtkFxcBy/9i6TuKnoajLD4JgJCst5
lJ8LukdJDsQWQNf2lsd+gmfMDA9QS+hGWsr9eiuBoq2W3sHhlfKD2wkSBNSU+EvcdNmyfzFfBrIU
j+EEKZMa3VL/ZsfWt5qLfSUm+PjKLYGl6gvtHcVomiaBf2FAi0BBWw11JtaZa2LwJiXAf4ggdEwt
CoUhrlrXIFarGraJEZHxzkGHXoIj5aoYQsqlaLclz8QxeYYlwlaAP5sUwztFpizJ4rbaw9hLLmWZ
PyOTgACnJw5vrzbzF5wuQljQHwLkAU2zNlk67FIWEsZYX9eKjh4Z31hlfIDItc2tHJtjf03el1JM
LCVOfm1F+UfMa+yJiHdsCygptueCNWDHU2Mc42EjqjbYOECpXFRlNz2hsx9zbY4PVpHYbJBDi94N
vDhzOspdlo3eqcTfviMtquHmZ9dSlEO2zgKePZSDk19AUGsB1a/TkI2pkxJpa3QI5Zm3xGW0GUIR
j/adskJv5fYOi+ORPatEzy6MBPlJlWf6RDjeWzECXGIQTcGS339LE1OsmybT6IEg+qOx4LyOstm5
bmiW2hgV7spCCZbrVXJV9UQ2u8m9q/ug3yCpKN8aJjaLNYzl77Et032VSW0/5TQAd5hwMJSIeO11
zrQBSQZFb4jbI8aQbjXO9MM1bSkBw5Is8ihMmsdZ4/zlHoWVrsLeyB7V0q6ULD1LKV9C6nYF70aR
gQ2Tim6zMHuY85wNEFVNoCGuR6qbclvWdJnwc8XS65QPo9h2qXvWnbQ9lFKotZsj4tXetG9pWZ3W
g8XX3psL78aLLR4fCc46azsJqkvwzQ2LXJmvbEOZfmp64cYmnBil+W4Gp5NMNXCcqj7o2bTEatR1
D3qnAMEjUtpGaiM9e+4wH3sPl2aLJTrljrmXMQteMXMb1a0vIXVfB1tMkEzDpwLkTwH6Z14YQNy3
782FChQU6Dw2oCAINB5dJtOJoznSZFUQa+1udOBCc2Dx/AM3VC/cIacK3quejG6tNdOWhSgdbxGc
Iv6qNzbgIlBfxwKQEbytD7mQjfoJYzK3MXr3gqG5hLrOX1SME53kXb13tXHiXbKOd2Y73xm55ENZ
mErVQldqqUdZxVk0A0pST1ERtLuY6X7lCcBMWAI9ahgg2FACZ3IxG9aKGheUJM5yLLeHdbtgnoKY
WTiC/JRDgGoxg2nLIZSl90qHEWV04qlL1ZUFO2pU3a2Wy3v7N6gUhqVYEYvr4U2NpnONG/Fj4vu0
thYkVVVI7z6OvY2U8ZsW6RTPu81V36j8IdX0aFEDFR5xCcImbTdR0H/PRU53KWbYlTbrKRvsvudU
TOGrGYMByoMyJr/XYZpVRKeuPMxR14FGgWNg8xfCKk/94YzYmXo8Eqkm0YqUxRovEtnOxVI51fL9
BUfXNzfCrTxqGO+SEJeEbdNS3I/fAtq2mRNAy5UdS2N5MevugTYLf9TT49jW2pZx1abBjbJrFq42
OquvtErthrF6N7zxoakI0VRu5JMqOym7OEaifE/K8iokHLXy8lqjrqss14w8j3Yyh2cgaESkavKr
snEg2FqPga2h9Fs2foo6GncBDDBE9vAysbhdVWgOxGrxvNYNhs8+A+CSyerKdlJtnYc9SxBcF0cy
3Kk/jUG+qTSXLUBYr12pz4TMrcRPdHmsFckfPQ03jlYaV4rYd+yKmzq2YduEFQ6WQNLpGE2s2zk+
zrBCdgO+ZNba3UA6W6yGsK42MWUmm3AO26NrJ5IWzcnD04eCHHNP3hiF2/sBu9VfHBp+I2h8OlBZ
JF3gnFJGDGDj03TfWkVrJkbZAQw23rWu+2JbiDwG94QDR7iPhAA7TZX51gzUFeyVckd9DQa8PMlO
aOnZRcR0RFfBSTo44QiGaZe2IGFadWO0BQf15IlpbxPsTOPqJl0+JGOSzn6Yq+/FjP/drexfiSJ/
neotC9IsMoJLvgdC5J+nQuqWHGJrRbdv3Hy9tAe1ZveLwfMnDQV8aOh99jJhs8L79KlBotKg8/Cp
Fd14LCRPpnhinBuDqxls96oap4/Ecg4cThLuEMWVa2A/NwNvWgtHXprOPhTw6ODXievALilnXpwk
MudaDfSv2sy50vGi7ykOAZ4/ky/gtPz7LfxvQIy/ClfEr2Tnpzj6eGt+KjovP/5DdLaoc2PcwAzt
wN3QGYJ+iM6SxgvOrKZlI+WhIf2+vf3NYwgewxM4gpb97e+iM8ZENAM0EqqILUnx3D8RnRmUPwku
jEAe8xfyBx0DsEI+zWCiYa0zWo23L6J58kvdCc+Eemt2bLTSQPmJwXathzZyj/kU1vdEJNMnCGI6
Hp0MC+3C8dXWTTgPyJ3ZEJ8aW7EDJISDTUeTLt7lqLffBzd2D55Vk+NvCq9ed4Hx5hFE3eQtvVCx
0YXXSVKLXaaVX6axJRgNPPsuyHvuabWGUWaK5+ZM1/FIPhkfEgq+tQ1rBFzyIJ2fAHK6MZspvdYU
bbiGSOeznAKxlnomsQspZ2OMC4eqDW+5NdH8pQ8YuVjbrgoNkxf3GSzZFLSP9dbIi3XkprOPz/9Q
QygmCr0Wk1FQl+fQrtw4zT0uX5I0YZNBv6QrCUf2U+exPXYpiPUd9BZSQdrRDcG/zWkH5N9Qp8IC
1AMP7LsOWKrHIo6VpLzJAudbq8enaKauXE0FUfTxJtFdPM5Jdi4RcVYidNOD1bOqrNFQlxj4GT/o
t560WcSO0fDYn+VJ/xWSUrC2ZfaATnmXCPNoAYnLx+6sxcYNZNFjWtlPiZfcRbp97jqkAU9Gtypw
NnVaHVPszCt7lnDrNR33ZFJKnYJXauEzDZjesgZXBJlnnGCDKLVbxVP+XDZF/pVzaCh8XDLdMfJ6
yJCtlRwo0eQeZfwf9s5jSXIkS7a/0j+AEnCydXc4DeLByQYSFDBwDgO+fo5Fv5TK7pnuJyUyi1n0
piSlMiMywx0O2NWrenQy9nblUFLbZx5gZ3u8j+AyXOta1m1x6VVEZiXUujIGQzZh7Ccod6hqmnrt
ZgG7MAmbqqLglQGA039e5XSIqUJkL/CcrW7Ah85N+60i88ZokIAVMTjkzgup/rK4bzzeh6oQwTnS
bXatvl8cTFHSLsBntb2s9ToKA3u0nszJDCCHuf6aFCB5HRrIrseCQ5DhLU/Cx4nDrTO7d9tFCUal
1pC+WFqS4WZByD7FqhRMyo9WTGGSEAHuWr091PxySz+h2IIcmfAbRa+krK0jL5b32qR5Grp1hOU7
ytO1LmV7MpYg2uXcvw+TY7/HLj8c6Idlb3hzvy0irOBjpLF6j0hoZ5nDQNHhTnOJ8rk8IPQ4v8vz
4aPyEWv9ZGL+bsnAaFEQrOlROvY1vCeWHe8pnv/13Hi7uUeyiIoGZrAshr0NdPbskE7ZBQGbfn9x
mlUllmbbmxaHlZhOAKEZIlTB9LCgZoqtdHSlO8jACKY8JEuEj4AHWQGlHHs/m+jMfi3TQKxtwm8s
buk1rFiD1+nc87NX9qrCbESBnTa/6R72C2kAhIgj/GPcM7VbO50uHFsTIboWlApruSE5a6y8yP1i
o18QHGLUTTLCOLaenCgGQNAbyPNHOd1zgZm0p76+K4qGd8ZhF66TyctLp7mNOSSuzCn+QE/lpVJB
aqyMn51dF6EOHM7OenJnLYQyIzjP9Byv27SmJlbZJkgKRJQLuvGhZU21n+nR2FDAVgUTx0iXc02V
xmBqc+0sO5P7UOnvx9Yh2h53HDqNfGX24prBwwzHgGHETj2dEnDwGrU1XAOyMzYsScS6dSNgG9Ol
RfQ2pEoYTWB0rLBo7LcC+CCCrv2sJd0pGBJ605MMYi2Y6a1Zc/D3l5x872QtX0lXMmeCd1/bdgqu
iAhPqTffDWjcqiMyG3gf1SzHTVV62gauwmeTEM9sVa8XPX+HnozaiVgNFZFT96aGldXgd+1ajghA
EUv7K9+YvIuJ7vdjqiyxUsMsqFyyS0SNg/LNVj8O2nG6ypSn1rSqV/I15TpKtLv+777b6HtSVlz+
TW8L3lyJR3doqyPlxD7hUucY4OIdzXlPJNZcFcrgW+H09ZXld8T7WysTMLzMK3ZXN23gX7W4hLWc
ZJ+yDSf4hwtlJKaqAyaUeSMYciCKpi/pVD86kdFtuHzB3qkcGn3Seoiw9lz1GtbUtr0TffvClmLe
1F4FXHmMeZGYlaGF1ltQQbcD/cIHxswZqR1PdCIyd9Mn/rdoio+yE+aNzvluG0srJd6CtboM/Kcy
L67pZzhqVY5nIRCHCaQr1hIK1ZuAh4jMylDTU301J+NuyqgH6CJq1BsePHpbuKc6M2dwC1z5i1W8
GlZMUGzW9ZVXMYHaqB1Eu9yUfju6C8vAhKoV4YQsHXlMatQV4gHRJfkWd+0RMDloigM4lFJjj+ln
O+HRLSyAb4Z2qkWrQYyzcvg6YW+k3JHZg6z44EWbOa3zkDZFDCZyGK8XO77teTFCmXVGqBvmucck
tnbFcg7i+qXUDG0NFJi5GAvquh6RxVtUbLZH5qnGaT5wE6TgUtq8xfXo7GNbk7skLc9m3WAbTssZ
ZytG9s6rzuUIG5Pu0vSxEYu38RDT1gR/GIEGcclmKd3moiqvWorptgX45WlOnglyjxsKZC6LzNE2
HRI8pC9ovXK2iDgnASxfVKXEt+8mhDNys6a+YfbUtjSx47sdOx1/KKc3CBN8oGQ94IzW4vmeasri
xtFgg5cxdqqGIORGs5vgJgJpfZtUZBzXqCD0hRpUTly4OniOEXPbyjGSbBv5/hO3aH54nt1hX+GH
Lyn6Due44OZRncycxtUp9nlwzSrohH4PtKzl7uhbw3QoGr174e7IVlM0/lWSEu5GekF9SNvEOBgl
C32tI3sRNXB8JTSkFc8v5LLW11hFy+RQDAiHaaCW0tWMw9NOjIdGVM8eelZmZ2yyza47UG//yKOf
skencF5pr+j+vrv4zwzBDMFZ+9/OEPPfHr/+RZuK+trfBghD97CHqDjSTwro1wDh/IGTBbYy7npw
ERYT5K82FeqlPTQJ7Cy4PKkr49v96VrhzypPBgEmy1f75L/gWrHs/757CkyevKqxwVI7ODVg/LZN
oaRBX3AMG3sjtV6TPGWHONo87WiAyub6KnbSjzRCBvd7VAoz1i/YEHx32qggJ94pwTvszcOl7hWh
odnQD1ytXOl9ue2BdC4VIlg6HRYtO2F1B2k5NOvY7h4WHdZMn0qOHDXh/MojjcQHAU8YImJkLfet
g8LmibIK3b7/QIY1wmTRrwnlPlay2sMHPvaFZ0LcdR7SsU12rllXqyILKoXI76gLDMx9XtPxu3Q4
pzHkYJaOARN2UXVVEhNY0Xj66okOOz1HUNvVeE560/WEzLvmbhzWk+5ugI1dc2e+W3pxQDWGE5Dl
ziqWerRP1YK3MeqvTor30WIcYWxXYIsBTjtonFE9F1Ddi9qZ9xPh+5M5VM4tmyu2ikU9h2WU65tZ
OIKbHJLQ7KDHNZ4hn6pc6oc+cYjQw65Yo+3imfORAxzBOlndVpoA60BvVvQbu3SfRm5qnIbKC8Ja
coc20pSWUM2YDlracfbQuG0OK3Yn80Xj94qQI7N97NXg0jKAC9CpvY0u5wdPeIwUg1vtB5eIeR04
H3Ni9JcLcVrFbKK4zkra0PIX+1wp/9EinScjUv9/GWnG0scmzH3e5bEqliPiYxQmBVQyklMDxTVp
9T2dHUUJw7CyquPu4I0986OzzzzujTJW6IxmOU8cQsXU38eIqbDsOM0U5bsPx28wtXMGTSlJltvJ
s/C4xrtxzu8sDoVTlp9ZDIWySY6l33+n0fDQkXYDUzBfG25zW8+s5DzzG9cme8Ee4IRuXGo5epxP
W9eD6ajShaVJPuq2ALiF/2STQKC/mQBQQK6WA1YG2gLI6kha/GLoe5f90g+3QrCrCbqgOcWFf2u1
A60MLZZOUBnwkIWlcxcXz8DksShrvAqSvNraixpg4LLjYZu+pdiQiBNvYShxCFngwaXpA/L/NdS/
B4iD15XTE4uP9fsyByiOk/yJrg1LEUaKFYV/ZdiM4oC36bp2livkcx/SdXaMPJ0KdRYrLDL4rOmC
NpuqK8R66khdj5P77LYUH6Qm2zLdlxf9JO/7jkOtLLA49Qu4w3ghJO9PvVIJiuVg5sWdXqOPNolG
SJkE2Cq17SfpMdUIksEJTMWV0F2cybZIzinQC24RRIplTxwf2jkNI+A3V9TE4sLG77xyp4g25wTv
aTA63UrPxhu7i9+tBgCXZrGlwaowbAfVfm7EUJbJ+0ugvHSjE7eJ17MLwyAVZOZ7suvw5HA69xPX
tUdoisr6JiRSfReo7vWWIERc5xcMpPHOSKN3j4r2uWW5luDPW1SDe4UmsG2a4Q33dk/CG+OFucTa
2ks4/8wUwQ9FTCeHVSnCSUveiVmFxA4UMwWpC8b5wqVSftScYsXxzd4HyPegPj2kcRroTYtv3JAv
sbx43Dg+PfWpaqw3khLU3fjuUWXvlbRYqW57pyWol6m++xgwGIFoptpKkOEMZt4WF07vqgVeAbXA
Z7k6QJuJiuSKypBkr1P+xNKzNd4WlNcPG2ooTcaTzeG/RGyggrtwuP66+NoKxuG6MQYIv5ntthBA
KvInMN4x/Atc0rUh3QfJwueABtHuYmtiQwuor1m1M4I6D7X0QRum+ppwWQ660am2ZU8UBwq8JcKf
J+t/DhmY6nG7/JtDRjX0ieje+v9RpVRf++uQgeKoc5jgQGB7tvu7Skn6RLddmNYcyj2o8H8eMpAi
OZYgRdL1iPVEWVb/PGQEHj4C3QgMPFXYnP7KIcP52SD8vmGAYgwXBC0UDDEscPuf9PhqwcTdpdOy
F5PxnTQZO7M5naC7IV8sPvaIrHCaoxEQTdbiMmal7jnXTYqjGzrBLbm5a0uw8mM7RmkGLWqOQ1O3
ReWgPvTco/FdDItzlujxq1xlIZYpvlX/FniGrOCTqUw2vo5l07S9r6xsnDsWPda1mTOsm6X+5gkc
NUgOMYJjQ2xDHqzZNLn6dzOnBNhZ2m6hBYEuHua4TLsKfJyqDNJfkxEQIxDOSXhLtGoSNo/+xLbW
YZAA8FP0h2CMMEz28bA1o6HamItXhxkomZXWUuBWTNbB0xwXu2lCaUWXwILwixfZ4+KvtSmMRo5g
E//EcLbnxwZy5Wbx2gsEBoywWv9mC42/sc0vXTrt70tLw8uAiSLqMQ8we6errqi/Y188AhJ/YxQC
ejFCOSqk5JGwVGa/mi0SBXOqPc+2ZuxSaX0FHumZTJP2OotNc5Pr44uRVu4GG69DFi++mPzgDbGZ
xyTPuxWwJREuQ89txFQvoJMQbFCleGM2ffqTFcbpcJPZ3VWviashVv4GRyBaiWo8D9lifxom5Io6
Nd9ZXl4tZsfiWHncejyGK3R0bdUuREuTWtZ0SUb5TeoDTNWpaKP3JRrRl91vLqFrYqHvctJurKny
WXbCmk3N4cGLrbs40Y6Lnt7IDBoRHzhgNg2XXBwlly0E5xYPzESuQQYNjMJgMBgQyyqmqNLu9XFa
Vf6i/qupX1twPWjUSRmmqI1HD98jr4OCrLANs0ildD5b14MT8Wyr6GRZ3Lz+kG6XSfacHW16Sx4n
4FjgYrUUQaFMxkX/ZTQ2wbxWn0jO0GoDb0rjwmDTPpWcT5bFovAPMtEwZYAlYHJQPzLKrS/Mdx57
wND86hJVLUVMm/bDrGd7PZZ3onPu+bBfJJl5tOf4ohM5bKUAwlNLQf26jRODtKzKLkku4dlM78dh
eKmDBVqbHUoaFApfkH8XG/xWPROon2zsARb13EQ+cNxhw02n3YnOe45LSFuYHy6Syfwec8bhbGmP
Y+yfkeD2TjVvZ9bE2MfdPXWHWzmkBz+Qrzn+TD8niDEX4s0RDRFoiyWF914uwSHzJQ2xIzLoIC8S
owOG3RzGBGA20sixTImz+/Ug137VXsf4vng8Xtk5vfeojXcmbXqNwsoQpLkWo/nuNs41wD7oT0lg
cRLI0+UxafKQM+ZWN4fQ0s01SzZqECG5ms0xjg0N6zknPy2KbuXibzOKbjRHfFLFuo/jYOtW9R0Q
zVfDxhDWCveiNYtjucDcRBGuNmUzv1Qyu/NzAs3xQLauk89CgOZGrudW+SqVKlst6RnI08ns0/uC
Ir/NaFZPFMN6W7cTRLjRqRCgcbwnM+0RYgr1qqu/iDnk92kc2exiLSjWummeAznQgYFCfqETNQ+b
Ni33wTwDn+VdQl1K9A2S75WTlM8+HTKbSCIP483XV20366hJBHAVBPlucZ2L2LcAzcrXhQYYJI2r
gMyepbvXbjNceun4KPPhyccIKaTyqg6QCeNG1gfRJDknZ/TNdmx9gKOAgCc5d1u4QvXWFla7pmaP
Mqk+ds7CbiKyAka8rdsh/az0mLhYMlz4sXNRBthEulbF9IzoyZ8XOGHKzNP2DIeJs3x1PltSc16u
jdY5wkrTd9C5X4ZFG74TwPArRu33Ou4jJaYuF0GnDsE5Fv4mMUpEWxDABN2uW+pZTlY/LeS1AvcW
38JT27mvzlyyn+eoDq66PfHFT1ka31YD5hmjyhDpg7U32S+RtLdpNV26RbGfo9FY+x22HWTca3xz
0yqQsA8muDzZPKwHH+h0Du4BTGmxs/344PsTiaUeO0jUVoicwzFLKQNu0uBW07EIo1I5G8di14FL
INtHQX6t6wsINkW0wTFV7Hiif5VaXeGWDYpTnZPxAhHe7aIc3iJB3oE6l/UkLOdpnGOyh4EyLko3
C0eqnx7Sqil2icYWwMkR9nOjS7d0LH0UJg9PbGTvEZYMXgH8ZGwHLnUXWSCLuSGXhv/Ye2l6PRQ0
iI5xBjB9hiTeYZPezBOruWAeCHng/ARKYAIXqJCFvbhe5zorA5EVPBwj7x7aLpVnEABEYsdHz553
PPsYEPxsvrJVic8S29J4iJslualVyQ8lXbhcC1X9Q1hbHIngVfTEUQw0DIu1NVVZkJECw5yKxUW5
0B50VSnkqnIhVK9sU6jCIV+n8Ev2Wb7pKCNyf1qJIp5GzHKX3gDLuf0pMWqMp7K2zhUO1LAWAuBH
MT/UrfGSdsEDqghHXQqRskh79Hxio5x+2Ljk3oOp2pNoR3IONOhu02bUdlqvkiiTx/qJsVci5UNe
p4kpbTAZUs20gIvYAPl/J2U6r8Bp1is/4cxiqE6nhnInZjiibrgYeX96Fp90rdmOlm10sIYrtopb
Uhtn28u8PY0/V0LDCVapGinHCo5SFUslaVudNJuyKXgA+TZhR7tqVBWVoJOqWfo7ar0uYlVWFdBa
VSDHU6al0WLT9o9UbJIhVCVXpU7dFfyyW+43cJJ/qrB8gEaOqseKbDallWvfioZCosaEQ6LKtGZB
rVZlckfIsWytBi84Cbq34Gw+mdw8AZ9Qy1Wqgi4UjT60QGIblgZi6afGSxV6UYSEP0SCckrq4h6M
A5SpBNpkCaxrJef+bo4EdA1empVspYmpMnh2VHXYoErESlUnZtArhj5/76iisYHGMZvmsVZVkIGK
SXeDqiVLBwrKOlVVZqrSsrj1jP1vx/bz34+6/79aWZUAcdH7EKv+OU3l8vnwyft3FIg2B1NXPmHr
f83N8X85H0h6/d/MP7dUZcN//lckX/XFvwYgSL4WmqhDGQcNKOp3fqms7h/4LfDUmPgu/m7g+KWy
2n+4yKum6qxG+rRdvujXAESgkNkIKz5lZ4Q8kEX/gsqK+eifbBqeYbJjcHBX2XiG9f+W0vItuntm
rzhk9EetGNdJp0L0sz1J0gPGH2ZpPwS7nq0cfzzDDgLPGZQsHSxnTbDsrjXjTwBRD32tDocCjGCO
65BdvzxrLAj0QNCM7n9FCj0oYRCOsAg5/dDWPl9rClLIHjHetgpcWCjLnkIZJlG3rCR0w0JhDtnO
bfykv0zhH6ZwEK2mvu1LDvimmBXZRe5RhsAezmLHx/1ZdDMIbpiKE4+kUI4Ons+kN7F9g59vFYWx
UjzGcfTf43yisK7R/R0YpegWjLw6vXIQyrQFF0W8vHaK8hjRq8o0EZCjVgxIt6SHcEOA3F9jGYXF
4UA9CUyv2tuKIDkqlmStqJKIN1hQGkiTsVPZOwjmBLRVWA9AMluqxr00isHgRJPeYx4Vu5xMydlr
dWzsQXApFNxywBoKM1/hjJb5LflhYLoKh+koMCbroQtPz7uwQm+agqGnj1A7uA5ALxUrBRUDYpPF
64zNC5d/YVgzPWzNS6qfYund93mEk1bWT74AB7twClx1iuGZ2NzdNhbLpVNetw5w8FojRMReztmn
iVYja2mNxDTN757FPKS0cXDafNUklrBqDlhEVWa+aSvL+SxUd8TIPmlDWUKG2MaLA+frVtBijxOb
kZEC8U9mbv3QCIAKvqNRFm6Y80UaVD43QYLs9gBVJOlSm2+J7A33hD+ms03imaTvEAORY+vGD7OZ
Kbvzyu+uYN9FsOcR2x/qdGpzQQQYcGRiH3D4A31fpmZtOIZY98LhAGG3d1Xgyt2YTo9a1lJr2rWP
iUtK0yiKnM0d43+daNTMDdGtV7k3XeLdkNvONvaSPWckl1ampyDRCa7SIX9OEoHGOcuLYCRxn3bj
bclHkE9QSp/60uCiVeCDKbc/29a9iwsoB14sccdHSXbMPYMfgwXyJh0ZQF0PqoOfeJceh4OAovTD
OALZbkmNHn3iBhz64PpNHYVxgWZeV2I8CM284AhFMavmxCFnzXgrjfJKG1sb639UrYHONNtME5yk
2ozqVporwqFhZ4tJ4N5txhP1sMVD7PyMLTiSYHsPLFAKkgNFfujm8j0rggQgl3hwvXwf52RdQU0N
a9O06w0fqzpsyvLR0Q16PGl3WyUma9oyKo9dDw64oV4Ue327sgtBP+wcHVwrZ8dpcAbRu/5hqFP9
ZmhZeGQixUVhYsFwsp5Nd2p8NFJ7MOzuuZO82CmoaTqWWrHJHBfS2zC/Q77R13XBURf8MKUwS3WX
li6u0Srf99g/MHW7qyHgUvFiB+k5Bu1paXXoaH2wAoUJEcSNP5U7bZVGOMvFFLWYlJaXPsED7FTd
tnZj2B6+eQfH6hvT+b36YOiW9SH7/pBxT1xE+U18IwvnYc4ZFvIIE3FAU15h0rPbx1nYGRD8nQBU
dDpy4OXiwdbSWkbYK2BdX+M/Hg2AQfWEycKJ9T2DtbOxm8HdGzHuJg6V93Yz26GF3ro1nXpGE0n6
k3Sw40aMBGu6iPtdXsRyW5gxwc4I80rU1cFxySLvgjZVOGtOpiOce9lGNq6HbKDlT7pbAW6CnIJl
wUswCMztRdLNM5XOHa0qHa3zEvPIRYXzM7Qn73MaqMHivU+fEV5A8mpNvk89cLxt0dfqKm23SweJ
tdcc4A8+0xI6hrx2S8zOzpRNJ8qjXchW4sVqgvbADNk+MH4Nd4mp4xHKR2+t+dZV1+KTbSaDOxa+
P3vf8SO/Fn5NLjZjwiC7AAqhSYBxjE29Nl1oCYExzjSUBA3auGYxRAKmI8ATdJuhzIYVQazmENS8
DqXVLes+MF+6rug2lUtaI0WXp1iRdkHDwRvGE83eL1DltmDCvIul55WnncdwQxM2IJUhiAJtH9vc
CnwkaL32yyeXiwrRxswPJqsZBSq9TMaiefH0KSJbyfhtSmEwQrXMIOS0ee8Jjwl6zoHpx9KsIJ6S
apJcInq0pngAKxp/YNN5DCesquaNkyQ8Y81jbgV7P/WOC32+PBMIk7sZjbQmKoRuxy8zTn3qkST3
OlqziwFGTdWCuMY56SBKtt+VgWoT9P5NbIqHTpSHUUQfMHB3Ec8hFpRYBTT+LOpXDkUn16/yYixZ
4fDZ7XPj2+RhwMo0jvZkVLyrxuUhKIKpXlktBMTRu4gXi+dnGV/Gs5g31oi0KoNyY3rEJyNdDKcm
yvMwb11/w4qnZvxv3I2tKOmp7/QHdXJZJfD0OCQndGjhUaaZZAEUn+Z7ZAETvs6gb6kqZldbOcGW
N4KeG5tHazdN4qaeguxSHzOvOgQD/jWip9Uubvxhx7g8ng3wdGth0WGDoUR/mGVvPlMQd9kpPofo
HXrBvJvMsdsVdQXKz7JshFcR+tSWcxX7z74lQ6DTOPZFf1EsHWWmU37SLXnr5P1n39l0KOESk+Kq
oSfaTZobw6LHa6kIBsp6vsSZx4fXGLboM9tap2Rq7OZQj5oPG7BNGMzjlZGaxznxnhfYH87QP8WG
/ogJZWATlOYYTUDF4alde4qEjLxU3mkBAZjJYLwZk2oLJsSiFtfGeYHisVoUUxn4gMnyDGV1yYJL
A8fsXgfBPCT5uVZM5tFlaHESy9uldXluATcXAJw5ekDFkzCdtQ53CpDnEtjzCPTZmcb/+DdUBSJr
C0/xQf71auVOfBV/u/16q//H1Yr62l+TBVMC5m8w7zrULfoO/5wsrD8sAAHkJv7fxPFrrrD+CCDp
YaowUAi4Z/xm/2YbY2NuhkjLd0M1c//SXOGpxck/LlYcNaboRBAUxuvn939zb2QQuspyMex9sSx+
z/EmbU6wmu848uJIddfuHL/1/nDRB9w9fFU9UGXDW1H22QVjf6yqpZiEUb7ZmvblGasmTg+EPQZh
n+T52N9myOFOi+dSdSFbRfowtUuxgYFFDAYaHnVaIGq9odjWEQ5cv8w+fTChXPnldBxtIK0eKlY3
1Ch9k/4Sp6C2FlfdUorowUvoj9LTxL/Bx1fuOZjoodc1l6z6MxJJ9geb9WOkW1d+Xj8Wg/O1yPJp
CZoXGgKpL6w7GtxjuTH75QJKFV3lTQ+I1IiuBhuUUs/Pb0SlEc6wN86RSy2TAwFrB+522AW4LUM5
1LRwkLE/pA0KF+w0j7K9qdppQQMbb2ycs6El2rU3TBWmc8N+FG2cXjUdxyiOmyg/P/YxZSSrJwDu
YrCam4pnWVhxD934VmbU61ZDSPdbW9u2vaezG8Gk1ifeXeaTYXcn4nVWS84qjZpzVLrVRmdMCEvl
dWu89NJa6pG7tIYgJTeahk00Ib13lWNP26aY5uoa95yvfHStctRZsk4fK+WyQww+C+W7s5UDz1Je
PINFbaLceYaw97Py65E5W7bNj4kvxc7X8a6TwuO6oPBpXpfK9Vcp/58zti+4tw8122XR4rTJDPuc
V7MR1tTBMAHFt4DGx+um5S7LPT8PO+U0dJTncFDuwy5N3JBqhzl0O1D6uRhpUR68Gh8BzsWCgmXQ
SnjEfeVrbJXDkcRAtrWr8gPHDJXJ4ySPJmbISrkidVS3PZ3kWWgpz+RoYZzNCwzvdcaRgxf4dcGO
uG6U2zIoZX8euv7FVlZMCWpfr2tabTBpBuNob/J+vsPMMKyposhCjUrtHU6BE1a8q8KXqOJwdiW8
3Sb1T7mNiaElEAYWFiAveByquBSkt8ja6ZS4gHtbEwCnpmC+kvIImi1tmp0V6teB+UtJXHZeQCfj
srDN7WJpRyvp4ZMqWLBU2GDKY/gihRJOFFS4V3hhW4GGoWmaJ2zZy75vpmLr2V2lVGbPrRmBCrM9
BImyuhIQVVD126zQHwy4xk6VPPeDSal2cZSty2kdAjIJ0kNX0zHDQXXD/P1l1f7RFQH6JPTkFrym
Bk1ZL9vHErqyA2UZ8fbdhLpMLAkHleWtiIRDUFdoZrrC4W4EL0GeforJ9FdTm96MpokwrMjOdMVC
TU3MrRMP16QSKUBPAahr/b3rKdd6C+e0fxoVL3qZ/JM2jXv8Ol9+MPbEAbxbz4Zo2ZY9p2qPNgzr
UvDtM2DUA1DqFoNkZblPLGdPDdDqFnh1ky43I2Fz7YdqDd66w0cxKd61NoqKgtnyRW/kzlNM7Eh0
XyyELrrEuCyDOkykDwguf0uAabdzjMFWf4ozcewUbTvKg1vDMvixAXHD0rylvu6pw4TkzvR3OMFn
44mbCIA3zbMn8G7noGVPA+B7yaPLJJouS3KziyKA1ygHLJlPVkBhQ9oiqSLJ2gmj0MCWZ+WW4/2o
w8nFaHFqlviUutahGZcHaxyfTDFcwvS9tpf6KnJFQb168BjYVG02dMo4ZnYfWfkR0NJp0eWJwkpE
d9fcY8vnQ1hAD29dk2s2f+M+913p/dEiZQFR9G5wxzMWvNt8im8okHnQKu/T0NyDrzahwVK9+7OB
8pHLz3FqT75kW4Y5BWGDc6iuqIyGF707kcvfYHvrxZkB6fbL92xz+1+S+ooDPvtcWtO8gLNZhdlp
NgHqmsVw42Zc+LbkA0s1Llxq7RwVXbQeJhfIYXAN1O3YNDMSbxRtRaZfDjU0xmjpDsPUvge09o6Z
dR+59o652FnxsD6LbrjzLIF7NoE/YMUl6Mf4vu0Mpb1U15URv9HSeswz/yNduoeUmshd58wLc3GZ
roVsv+Q0swQhl+8XP2XtrMq1NHvyK2Guq2l5lNZ4bcbeWzDLD9svbsZk8FYcS66wncEwXmrStbNd
0HkbLYAG5GOmGzcMR8j7OoXJln0hm+JV6nNPBgkFo6jP/mJ+kZp4iRe7CvOo+qomYgwuYa6VG8GU
5uQoNlYx76J+eGyT+iZVsUBCwIU/PeHxxlOwaJK9/3yMyHvpKTJ478QrOs3xeJX465Kov+2d5CPX
lq/F6T6D0T2YPHLiyDhTt/WCkbtdDdjVlc7ygIF43ti+/NKj7FJoxLEj78FNyu8CYWO92NadY/in
yTZPlV29pm4KQQu84NjvC2M5WpX25Vveq6t1225qhrUVyfeYctsIk/+m4i1YpX45soXK/H06wxge
B3urTfJQu8WHX6AFuV773dPDSkFL5q/aCs1SNvV7Z6JgmRwNUJQwULe+eSWXcdeZ6S5q621Smsxs
bop5IP/ksrmPiswjc5GwpJLfmjMwOsAw3bMHKS+5Dtnh53125M7/kA2sCvM0brdRrHtEhdtPS85v
rcIKzYb5mlMhteLKfuLyH9dxrpiO3vgZa1x2lhgmJSW9lzFji+0RegmqnriG9OloiZ7T3Lmdpz5d
L0ODk7+qviCGXrUGxlskMcFyLTSs4aXP4o/WmOVrP7rJboZMpSifw4KMZzZ1dhmbVVCq+t36Q1hT
T//lj+mg/DEgLD9mBHw4GBO03tKITbsz6G3Rat7Tz2H5P5YsLFlYpP7N3NAPZfy3+/ZfOb/VV/+a
HNw/lOFK903PZQ4wfouOUuIOixD4qwICs2P405RFoYXvYeDC+K177j8mR8ldsN0wdeyiUMX+mifL
VMnQfxwd4BUS+LZAELME+Skf/G10AAduGD1kgEPFYW+VDzzQKuzQqaVtRFk8R0b82jnZg2tzAHUw
dFT0BDP3zvdSFQNHKf2Z4O6Y0GkNZi1MmUGBKjCpSmENWZPVf87KvuaZUSd3kzVeyrrlcEgjMa7l
s1fWPoBhNiL2mLLrFsLZ0V2sXdWG/6lrNgAZgC1U3bkYrRZjtejNaVBdyJjpv1rKkZmy/I1JXbIV
e0ic0rmG1BrOdf0kTH8zeMuVSdGyhDyw8tr4XQj9gjKKjlB/VWwN/PVrt7HCFooCgFROtBSGirXf
+PtW0usM4DQ9KYet5p7nlsT6MjzJpnd2hSqD1t3mu/Mtd+9Ri0DAo/meVXe0VC3SCCw8ZByapUtT
fzGtOQgFov+5n6Zo01mcWOB7Y0xLNHwyeoAopWhfVZY9FDWds7HJbgdN/46m3bfYikGH0RmdMbBR
o03rtaU4KCOlFBt61QjZc7Jx3orBTbd4e8Z2VVessdmJU7DkqKol5tmjpcqX9J8aJmKN/8XeeSy3
sWRp+FUUvZ5ilDeL7gU8CBrQSuKmAiSh8t7X08+XlKgWKXOvBooZRkxroQVBVgGJysyT//nNYqjL
dpqKkCaJFE3wWdW7y/2azCFADzLQ1iMgCGq+YxdQxKsULFfH+sHq8BumvbSWjGgRA6Tk4uscgFZk
gbH4BZaQFrBLgWeIAgzjNeOUkLy5CTzTqcWFH9snIFOYD+nNiRap0oTU4Xmhyh9sIJ4hrqoJZ4Fx
5sTdLBY4UNY6F0Ghz2uBEA26eYq3vPqB44h8EwocSRWIEmw7AuIFylQLvMkVyJPcDTYgVJnGp5Ul
arJYJnaMYok6xXMXQqzIcyzLC/zZ1KmJUcwq6rtxngJ5JbjQTJQKpNuvbEX4DDXrJBEvYhxCOUEr
jG4H8VBG2Ww0Aa3V7J+6ANt8Abs1kn/qCyBOAZHTQeZCAdHBHIfJ2Ol3ftcnS6cr4Alb8qqX432X
OdR+HCV9LblPBOJXeupZKDBAD1zupH/CBQVCmMfBEq3WYw10qDvRjQuU2BVqv4gAFy2BMtKto9AR
yGNvNiYC6ITGHbBklIYfQYOngRsm80QglxLxTRNHi2GDtLdyES4dKdgC7+GKEti8Xymu8X0GC40A
RYuMIF9A0s4wsykhEYQ3mxqVf+wkylyVEYBrTxCrJtBW+wl3jftqO+LLB/UFKRmR3TERUwC1ioBs
4yf0tk0a/YOSF8OdHAy8zE69oIekTXMmyQz4flebEbEOlXtjV44MZK+lW3TdzplsW+2scIz21GXg
SOHtq2nXZs7pEDfVcswREmOUR4q9DDWaeGd3oVow8gyVFzK4gNiUpqtaSc4gOpkaeDacpxEHo7nu
EwoRDughOPNEJ1B3oPMNNmahWEAQq4jW/sRMB3QhAWexwYP5XwTGKWqSetrRzp3EmEzB2Ok4kbeR
eYIyAYp+liqbmJTJmd/WyOQcv5uHg+uzPCFJNKhH1n2V4qRBTxtseuxuyxA/Gd2J2zN7dIyZRc9s
NhAmNDGiKqfVK8mbggCTs84Cs6iZsDOna+MFvDOSIztQY8gjjUsg4ojddNnmE4UlbRHnLCZxKZXH
CF5kUpr5OhI1H9ZGB3Cha8k1FRw/Qki2MIfwAh6fMSuKFMBzGM6LIbNoP2q0M9SsXY1VnVxKffFe
KczLUa7zJZoZ/SasCWkjsfpU9ZBf0xutzjStcViVsaAbS2TmYZAj/x7y9kGOCX5PpSwh2s6j5e1x
Vs+SPpxZOAxM5THXN6rS2+sCSRCiAbV0F4D77llQSd0VAX0JvkUwZHtPTsWqT0PW0s4DvO4WjGl5
TAYgXz7OjFP67lge6LQbOIJGdGBrL3lvtb4xk8tasVlbi3ir9jzItAo896RsPGnnMcCXeZXUc2jw
7knNPCDiLfMUOlIACgANKOudftRg0DHxJwUcbCRSCoc7xPiZZc5txPm5jCQiLu0TyfQvQ+T7uWYe
u8j5EzqytDQWKZAz3hOXDPh1OGaY/4zSRa5gy6kQdd9iEQAb9SHHMqAU3gGmcBHI3TFa5x7OAk4d
nqSR3k29rN12aULtjYy0iCRSR4dsC2LAdxaPTHLvUybsC3p8DDirNRPHg7CjGs6xLcwOKhVeZ468
cqq1w20njxwCJII7CiQRk5j8oKsA3QMgEBkXKW4Kw5idaHW4hlw9ThX8FpQKHqUwYPAZ/gRHhlBY
M9StsApGm8Vza05yvBsavJ0XvbBzoDbXp5qweFCE2YP7ZPsgDCACYQVBHVJPpRx7CFUYRUSj6x/L
wjwiAKvfDDQcZY7KGd1EYTOBjbp5Rll/1xqBsoQI7Z0Pdnlr8e7p5CoqUrTBniHhaSiEE+z4iWmg
YCh5A3aenWGthr9kisG3L5MhxPkIMpdXZTMl75opZvewqDXnY221w7qNA+u8LzXvXh+V+tgabXPp
ZmpzjCOydl/SfJ95Qg6SDkF6KqG+OXGsFJlHWDWflI4GcZHz1HfofQCsgH849dfONCn89tSySjTU
Jf4WrN+GSqoPrh0L0/CCZcnqPvtP+f4F9hcl8y/K93Y3vLsMfla9iz/+d/WuAu3jrQI1GNAee5dn
RhHVO+6giiLskrBe/kZSoRwB7as4D9mygjGMhY/MM6NI5jDAacCh6LcNFfrd7yD/qilcUb8t3+Es
oQ8V7psKJt22/Uq36ceKBtHH0Vd6Yy+ksoZdWXuVtEvDPj3RcrCMRPaNVUea5daW/XyPeRgu1dFQ
Nysb2w7CsV0s0uiFTszWaRa1htVCZ0rKlabKGPaxo6rhRB+D7hOd4IQZYnRTfB/9Yxsh3WWqFR88
wkmm9BdNYiliGdZ0tY0i1g0pIvyid+XsCgs7UC3fZ1svVHgcledIOwXG0NbqTHvhykk0y9QiuDWw
izw1jaG5r02tnymZc6tnmTEHyWsFdQetiAJTV9JUkhzkAoAplfG9s52FrQIIh2poAw1VmHGFNSt1
V2RzgLxqW1YtYVyl2uHx1+ZLNBe39GXIfcwz+pZiamYyhhpuQuMWd7BsqTcGnowEFC+qlsAHXNzi
WttWgLrQ8rcZBxNgTwI25erYFB5tEdmspk2CnxReVBo6f+SV7J8tG3h6Sm4cOdkdYR/Uy85YrJs8
J2M3V41ZHQ9nWeWielOdVdJ6q8ROZzyHGzKyRaPSFSxnGijFPgsbUFDZmVAdrs26CSBVWRcaVJUq
K7E7H8dTPCRPTUouU9KIJ6Ep4/vV3JSiqzJyt6YVfnA6c2NXHnTiuFp1TXauSMZjkXX3FlZ4kxDB
aePy7VYfIhCnzh32RYChIscdCv6rREfy39cNccBhcQLN4r2hIufP8VLISKBoM59oaGc4ToT409Pz
Al93BKH0dtC0oxHNYtzJ8WnUt5JpFfO6Ej8XolJOA/Vphs40gRAH9I/0FNotlrd5d1MkoERSKysI
SyHEyEK0mgv5qqzXw4kuuQUWEjGMrKkPh3utOjEU38omZV0IYR29HI91N8unObjxohSC2QTlbDwA
xytCTIs+o4UvQ7Gr15wMKqG3zaxMXmtIL27cFLRI9oOzXgh0YdcmM9Mf40VLM2KiCCEvnYlx47Y0
dKW2OlbogJMcU6wwWoKkixI4xC5gWvbBPUEw+wAQYEqZ6q7y0jcmNa3fia366w72bYbGOJawbDHR
XQx9wuYjkw1v5NYOw3WICkKB5HMSxVPyTDKGeSukzCofs53mmDrcj57lPOYGO6+tBvoGQ0Z8E/Ac
vxxjhWCPGv8SVeWYpY3ZPAIgvotU7FtgdVm+S9fJhVTkpfE5BiyNwZs0MDxIEW3TNe85afaocXur
n6ae5sC4tdh99avQ0ahUEqI/tPdhDvytFBkS3hT1da1I55LHic10u3TpxGxmShhlmA+bNXZRSkVe
mI2B/EXCbhvO9BwSU6bJ9X/gqa9tbWCkn+9v17ton/24pc3fPW9txpHsWBamF0A/uJd909JGR4iM
EC0hkaUvc1MV3M6wK3NMsBFNV4Cs/r2zAfTy9kDO+F9TfqunrfLrr3Y2sUfqgqlLQ9tUNQFcfQNM
xZwiWq1X+5XX2Zy6/EFBKNSnAYaUuAvAIony5s5pMrI9lRSvGtQF5V5q0X8hRk/mhGKGK/Ikbuqw
oJOh52tXr7QMcYWO5K/Lkhm58Use7nDmu25wWQ1OMys6FaPWxGhXUpG3F1VU07YIeofK1JNoGunS
FkoPiBVy7nXAhkwUUvvRcOXupNfDuzDBMwbHas4ynDMqp5LwUOLgj3JsVUbKI+6nGZ4wBhWoVXxS
an9n29KGvHOxmoAXFYOywgTweohCrKGH4TZ0ZbZD4zyMk50FWfPaiqUYLqGWr3HNvYqJaTxWwjrC
pS0zJM6NTnoeupl8pqYKlr0Igy6qzrrCSpOK1hQsNKtfsGQfI34fVm2mfIJf4i/snJIgM/2rAUxD
6koWwkC6IafbhatjuSs9rW46nHVmhULcUeBmmPoPUrsq/aiY9EqtXg51ewuNH9cgweitYtn42Hew
CyeJKxtX0chuDEfBx82oxVGoSNJopWuZu7BYf+dkMrRXDvZL+1bDDJfldKUI+UtJpNgUu5Od3cA1
U2X/oeeABSwxXhkonCdu1H9U1cL6qMiFdgbpJ0Q/k1anfolfO4l6I5YuJbCKI38qVFpKuarpy1LC
TdMCWltUcb+WO5SFVk+nhUPVYuiFBZkBZo/a+w5m7lVshOMUbt6tyB2lb+KBQI5uhH7S/RBZYHS9
anF8Ly1rHhq5vbTpiE+LXsdUp44Fh7Bzb+gW6GwGLJZJlZjErNfSiHcRUr0U0itKFXpZSeSR/piU
OV/nCD1D98e73PHpnpoApFYuuwu2lG5TcYR+CFuIgUTRwyDXOvR7vSGTtR3d5ZIfnmRqAnG8PNZz
1d1kjtLwbDTW1ozarZy4kDEg/zaRvFTw7SSfREmPrdShO9bJ9/0IxymhN0m/wKYZodb4RLnyNmzU
6zzsjt2YR7uW5XVEkiEmIFG3xsojWZs9FM0UL2gc3wtzjgtAfKZFqPdtIwpX5RhFS7/K7LvAVeSJ
7wD+uV48AmlCYndzwybXF/axqvpEwYTWudd73aRDLKkRyaiB6Pau0X6xBv1/3LggP1CsvUiKVCKI
bBZO1vNf7BD3mehgbDDfSL7dKH54mecNwzwiEVVma3i1XRjIzsFOTMTir/oY6hEnE94YwnKNNobD
7vO8XyhHCMvFHgMCZPNuf6uRQbfi1X7BteE+qcQlov0AJXslLg8Ss9cqCTTeUWcUkadjl5zpef2x
SfBUS+xPehCc9/zKlID7G6XAgjIjBrhOk3YVRg0hnkOswKJM7SU7IgpBI5M/Zk0SX4Cn29e11fUc
yLPoQ6MwuxNSElEWGPm8wdNsHiZUurqCjVmfYY2WgaoTsGpt09i6dxGabxQdNMbBX2va0iMBCqnl
jVFl8cLsQML8scHa2ZDwR8fFfUboGzz8uPkIGYcbBPV4NhaljFwLlw6z1rDhb3Cwh/QdgMORq4eA
ElBVpd70qyg9HXL3g+aqrCIxuS9wjm9Rvrn4tiQQSa1GXQdpUU4T0Jl5r5H/S7E+0kA0o03XjYif
UhzYwh5DzNRjo5DCD4i94D3rwTVJMfESiWK5iQm6ldRgP/JXAzxzJrK3Vi0l5oQnOaeY65ccADHf
gD8/HCtxDu7cKwo7Z99PkxaUzQxxpzcV0106zsCYqRlk+GGpFMG8iL1j07FXbq2/z/OBbwCDPBoL
OJPe9nJxadfVcQpDcujDK6dWq2mq2vNaclBfhvUCZ4Qrp8rmit8/GJp6nvjAscTDLnzi5+SKHWRU
67ve8PJTaN8rdTBqXEG0BUEPkGaRQSs5gFvRebNCAumThAMH6/ED+k3s0NgCBtx2qrhejpl+xzyk
l18Ss9dCZTDMM5VAxonUt8tE96pZbY9xvrEGubtOChejcPZ7SW2usQPcY+h57pnULIN5Y4m90nQ4
AyjjPHCbi6FSd7lWXCaDO6POnjdldU54jUZkbMsCGqjmRih48tHgmRsjHEpjfeE77bHXYIXoacWj
YeaPrmKdd6N2VXbF+7zOt4aRnttltCmckM2jTO5VM3lMW/ekiiDpRFW/yqBmpGl4XMkaWR7+AxY7
G7yHLl3DojtAOns0brttObprz6wWQdgea6V66XjnDo3AHjsf8sICjgn5RTDIIAw1LRc0JrU319Ly
2rOra46AK4xkGEIp0ciwiS4UvBxs2HSTIilvKyvJ5i4Cg0kWG+eoKHHTlO44pFoT14HW5UsSrvDB
pikkeL8uScuF9qH0CrJryIqpzA8ROG+c6pvajU5o6UNflI1TmgsKzEPjo2e3Z3KcPdR6uvFhXU1G
IyQ+wEdSXA39srHN04zISIuMykni9A9dnr7HPsn71BWjtuxjp17q+DA0xoCdDrHtCmdDdJqD5t5i
zDMgOMhVnm/pNs00eiOjBnjh2hC/vAxVOJmn4bmpNDC0S86h1ZidSXqtoFWIAcClkkUklU9Cjfhd
KSkf6yaBGT1ki1FSjg2vvjF7Nu0sjc4iXOj0jhhsqymWfeUsvQinCQWyZgVOMDYYE6Shvo5g5WWK
vExz5YRSa6P7NlAD3n6ZnVx6bbqpPf+9VFOEABXQM+qNSWXj5o+BppQbF56b7nsDw8tcpyeJCB59
j9WeJhJtkAG2CcyeGo8/rKhU82Os9Dx8+ryqLQrR5roIlRN6xfs+l8m9TAlDadP8zKzNEzQVizDQ
zkFmfIRf7P+RgYW9dTmG46wP+yszh4jVJssglEllkLBHHNzuIXPLj2VonbmyJ5TGuPjFioUFLpW4
1hC0EKKkI3B2hvIYYRDCuDUhERb4t6eDtWK8b1UhjVaivYxzty6LvY/YrZlYheeyYeDMSkSlsup0
3zl1ym68hIqkntaItU+xqM/OTBWqmBIX2WWiZ044G/XBvk9tFc2yxUGetW/pwKoSsO4c8g/nZ6mK
y6XqBTeGBzsTs4cZTtH3ZdY4m0ZuFJSxIxVQoQQ81kVlkNsmVfa6DhRtLeM5scGztjhJOxw8pyb2
0nf2OKLFQ4CB78f7TlhI4Ul7bwHZEdcafMjBF1AJ4jhFqF2wGNskOXcy+djvknLjC4eqasSrSopx
rQIjcaaIB6Jp9WRq1T4ZXPW+WV33oBDH8Qg/SBF2WFALkxtXWGSVwiwrwzUrQNFX4aJFvLvogV8W
cndeCpstFi46SiVzxT+O8OHKknCrGsUl2v4rA4ocXNMTD9+uEP+uWvh4JeVFjK+XpA4LSQTX+V19
3eL8ZZX9thNWYCENQYASWZpGiXIW3pjHIzCQYs//S0oTdXCpvFdA6/HSNtm93Vqkv0RFsogt81NT
jWTqat2EZ++W3re+JWemJHIVn2g7MATVWX5PjXneYiJA+15uzgoqLCz74cdqRnaO0zbdfyMekK8Y
I/CmnKu3sWZVS1z0Q8SQ2kgNgB1H4wmH5Bz+flP55rVRJ90pBYy5fCrQ/kDNeoC098vdZ0hs52kd
1MNFsy+Hy33VxHX1LHYVr24zXJWvs//ZL/36Qu/2T3e+HvL9P/+xe0yCdBZUpNI//NjwyHoNfTy9
taf3/asrxTs+XvPILRT5CL4+EIbIqoqz1Pv6c/2I5CResz93D74ZnJ99/F9/ss/j+OvfefGeH6jK
gXYv98zqF5Hi+muHqJ986FcX+OZDoznAswHDBxWw5bMD5avPTuFsmLoGtQive3oWnB7+90fgr79/
47Wi4ydD8epK3wyFhhmWCHyl/aKo/M9Z4sVQYIlFPweZh0UUm63Q83mjQ2FyynlxxvvtoVCPFFM3
dUWzCcGVZYO59WIoIKLBRGOgsBgFJvy/mhevvsvPC8b68Z//kJ4BUTGXDx0KmnY6AcAodp5kPq+G
gqfCQWADHY8YT/qBb/ep+Dx3SY329tnXtft3FkieCvr+uCXgFOuonN1fDYVxpIoYWPRVoicqKI1v
dYIcvFbQyxXrhAXqbcKUNL7fMlRGSJVVYR2hv+FlU/SOD50gtFGB+C1WTdyIRZf8xVpBP0HXZQul
OZ2ktzxBxCp32FDQxqd+UBWRvPhiDEiDoQ0PfdjBm5nE7Dc7M6zPu9oBi4R8xJwwEC8S8vvls74e
CoN9BX7xmx0E8+BBIFge1jThuZpNwo9ivH4emBO0w3gFFsKbXh6+08n+dimhHaE8hY0igGjHUBS4
KK+eB1mx2VkxBhXz4+1ODfPg5YFNQyVJXBHP14sxYIwENo9W+HnKvNGN0/oDuwWdCDKzxHHtxRiY
lJwUWnSP3+66wLN72AbBaYuF0UB/wGQQ/74bBNoVLApvt6AWKvLDxkDni+bAqWmvVwLOX5QRUA7e
7iFTqPUP+/Qq4Q1IfhxsiC2LQ/XraknFqow4KnYPjhWkfr/ZyWB9nqcHVAosh6aGxzQ7A/8/MU1e
rAjALibWkFAmoTm/ZehBeMMd9lTI5AhCaMHozzI4QunfbxA8ETBODQHBaF988d4iCiNIrYcNBauA
w+poiPrwxeNAzYSVBc/CG14eDt4gIFJxgrAQI+MtyBr5/SCQra5zmIADBVz3+X5v8UGw/0CloFEy
WmIBIMBSVV+jDRorJYski+Vbr6EPXh7EnFA5SwDFPReIL6aGdSTbBq9rynNVwRx8k0/FwZuGdmTL
qqXCQ3y1PFA/gjFAef882m/x03+nPvjtw5RyhJoMsJHgBc0RFkKvBoE8WsgRDJAN9qS9PYj6hzyi
w/YL5cjRVFyUwZh+ODdERC8qDRtCn/j3G6eLv/EIfe2FTf0gfnzqggX76kfNsp/9wnMX6PvXv3SA
BJxNm+fF74me2Odb/7tH9q8XYPjT7P/mxefV4Ok2X/78y+f7/s4v7vX8oZ5/uAr25a588EmhEo3B
L+/ybJfQQrv6O/r3n3f1vj4Iv7oHUtO/ij058A5/QZM+8Op/w1vswDtsy/1fpc8deoddEAcvGpFf
Gy7ihPTv5+67xu3f+or/jrPzoZ+g3O/8d3+V8n3gTc4fH3flu9P9Ln3w98PzuLzoT4nj9KHDtdnn
zxd5eW22yEOvvfXTLHm33af+87Ve3oLl9NBbbEpa8Pvn67y8PEXkwZfP/HcbuvnPV3pxA4HpHXyD
XZJz/XdX+b55vtrLm9BtOvQmp1n6iOHCz8zORTzTobe4+hvqxwMnBCsTs+4q8Hdp1kTPb/nlYFG+
HfpJNl++kam/e8Fi/rpImdRNf+4mfrr72eP1J2b3Ln3cxc/v9+VY/YEJPtnV9S65/+kn+BMT/MvX
ce1nP/k6/sQ0FzepfzhMoq936Lc92aX1HnXwLxdzQUE59EbXv8XA/+V8/FF99/VY+H3V98xK+tGf
vaxoxW88xPtd+a//BgAA//8=</cx:binary>
              </cx:geoCache>
            </cx:geography>
          </cx:layoutPr>
        </cx:series>
      </cx:plotAreaRegion>
    </cx:plotArea>
  </cx:chart>
</cx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49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1131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3175">
        <a:solidFill>
          <a:schemeClr val="dk1">
            <a:lumMod val="50000"/>
            <a:lumOff val="50000"/>
          </a:schemeClr>
        </a:solidFill>
      </a:ln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seriesAxis>
  <cs:seriesLine>
    <cs:lnRef idx="0"/>
    <cs:fillRef idx="0"/>
    <cs:effectRef idx="0"/>
    <cs:fontRef idx="minor">
      <a:schemeClr val="tx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/>
  </cs:valueAxis>
  <cs:wall>
    <cs:lnRef idx="0"/>
    <cs:fillRef idx="0"/>
    <cs:effectRef idx="0"/>
    <cs:fontRef idx="minor">
      <a:schemeClr val="tx1"/>
    </cs:fontRef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A4527D49-E58B-44F2-9525-109BBF8AE708}" type="doc">
      <dgm:prSet loTypeId="urn:microsoft.com/office/officeart/2005/8/layout/cycle1" loCatId="cycle" qsTypeId="urn:microsoft.com/office/officeart/2005/8/quickstyle/simple1" qsCatId="simple" csTypeId="urn:microsoft.com/office/officeart/2005/8/colors/accent1_2" csCatId="accent1" phldr="0"/>
      <dgm:spPr/>
      <dgm:t>
        <a:bodyPr/>
        <a:lstStyle/>
        <a:p>
          <a:endParaRPr lang="en-US"/>
        </a:p>
      </dgm:t>
    </dgm:pt>
    <dgm:pt modelId="{0E3A8320-D063-41E7-B3E6-F1F19D3DAB43}">
      <dgm:prSet phldrT="[Text]" phldr="1"/>
      <dgm:spPr/>
      <dgm:t>
        <a:bodyPr/>
        <a:lstStyle/>
        <a:p>
          <a:endParaRPr lang="en-US" dirty="0"/>
        </a:p>
      </dgm:t>
    </dgm:pt>
    <dgm:pt modelId="{2D456BD5-A5E5-4DEA-B063-83964DC85EB8}" type="parTrans" cxnId="{6DB564A1-B093-4B7F-B73F-FCB28DD86345}">
      <dgm:prSet/>
      <dgm:spPr/>
      <dgm:t>
        <a:bodyPr/>
        <a:lstStyle/>
        <a:p>
          <a:endParaRPr lang="en-US"/>
        </a:p>
      </dgm:t>
    </dgm:pt>
    <dgm:pt modelId="{2780495C-90F9-4D48-A88D-57A1B9FF6EA1}" type="sibTrans" cxnId="{6DB564A1-B093-4B7F-B73F-FCB28DD86345}">
      <dgm:prSet/>
      <dgm:spPr/>
      <dgm:t>
        <a:bodyPr/>
        <a:lstStyle/>
        <a:p>
          <a:endParaRPr lang="en-US"/>
        </a:p>
      </dgm:t>
    </dgm:pt>
    <dgm:pt modelId="{3F7C0410-F2D9-4541-A545-6BE794ABA17C}">
      <dgm:prSet phldrT="[Text]" phldr="1"/>
      <dgm:spPr/>
      <dgm:t>
        <a:bodyPr/>
        <a:lstStyle/>
        <a:p>
          <a:endParaRPr lang="en-US" dirty="0"/>
        </a:p>
      </dgm:t>
    </dgm:pt>
    <dgm:pt modelId="{262A2D37-1177-4E6B-8C02-9E17A09E7B9D}" type="parTrans" cxnId="{3B310897-43E8-4990-875B-2306DF42881D}">
      <dgm:prSet/>
      <dgm:spPr/>
      <dgm:t>
        <a:bodyPr/>
        <a:lstStyle/>
        <a:p>
          <a:endParaRPr lang="en-US"/>
        </a:p>
      </dgm:t>
    </dgm:pt>
    <dgm:pt modelId="{A7E85E06-151A-413C-AB0A-B2FB86A366C9}" type="sibTrans" cxnId="{3B310897-43E8-4990-875B-2306DF42881D}">
      <dgm:prSet/>
      <dgm:spPr/>
      <dgm:t>
        <a:bodyPr/>
        <a:lstStyle/>
        <a:p>
          <a:endParaRPr lang="en-US"/>
        </a:p>
      </dgm:t>
    </dgm:pt>
    <dgm:pt modelId="{386631F7-4E89-42B8-91AE-34E5B6B87EB2}">
      <dgm:prSet phldrT="[Text]" phldr="1"/>
      <dgm:spPr/>
      <dgm:t>
        <a:bodyPr/>
        <a:lstStyle/>
        <a:p>
          <a:endParaRPr lang="en-US"/>
        </a:p>
      </dgm:t>
    </dgm:pt>
    <dgm:pt modelId="{9A4A057E-767B-4F6C-95FB-28F26990FCA9}" type="parTrans" cxnId="{615C2328-63EF-49F7-8BD0-63992814AE99}">
      <dgm:prSet/>
      <dgm:spPr/>
      <dgm:t>
        <a:bodyPr/>
        <a:lstStyle/>
        <a:p>
          <a:endParaRPr lang="en-US"/>
        </a:p>
      </dgm:t>
    </dgm:pt>
    <dgm:pt modelId="{7B2A0797-9D1D-4587-AEF3-0C9433AC905E}" type="sibTrans" cxnId="{615C2328-63EF-49F7-8BD0-63992814AE99}">
      <dgm:prSet/>
      <dgm:spPr/>
      <dgm:t>
        <a:bodyPr/>
        <a:lstStyle/>
        <a:p>
          <a:endParaRPr lang="en-US"/>
        </a:p>
      </dgm:t>
    </dgm:pt>
    <dgm:pt modelId="{9F97E89E-824D-4D84-A7DD-3A8AFF51FC25}">
      <dgm:prSet phldrT="[Text]" phldr="1"/>
      <dgm:spPr/>
      <dgm:t>
        <a:bodyPr/>
        <a:lstStyle/>
        <a:p>
          <a:endParaRPr lang="en-US" dirty="0"/>
        </a:p>
      </dgm:t>
    </dgm:pt>
    <dgm:pt modelId="{E9E2C887-5EE4-4DD5-B008-7998AF6D8ECA}" type="parTrans" cxnId="{826B7923-B2FB-41EF-970A-B4DF8A5879A2}">
      <dgm:prSet/>
      <dgm:spPr/>
      <dgm:t>
        <a:bodyPr/>
        <a:lstStyle/>
        <a:p>
          <a:endParaRPr lang="en-US"/>
        </a:p>
      </dgm:t>
    </dgm:pt>
    <dgm:pt modelId="{D928C725-953E-4A18-9D39-09AF4C959F51}" type="sibTrans" cxnId="{826B7923-B2FB-41EF-970A-B4DF8A5879A2}">
      <dgm:prSet/>
      <dgm:spPr/>
      <dgm:t>
        <a:bodyPr/>
        <a:lstStyle/>
        <a:p>
          <a:endParaRPr lang="en-US"/>
        </a:p>
      </dgm:t>
    </dgm:pt>
    <dgm:pt modelId="{9D0AFCAB-37A7-455C-AA75-F757D615AA0C}">
      <dgm:prSet phldrT="[Text]" phldr="1"/>
      <dgm:spPr/>
      <dgm:t>
        <a:bodyPr/>
        <a:lstStyle/>
        <a:p>
          <a:endParaRPr lang="en-US"/>
        </a:p>
      </dgm:t>
    </dgm:pt>
    <dgm:pt modelId="{243718B2-9BCD-44A3-990C-6A46BE2B5F1F}" type="parTrans" cxnId="{8DACD7A6-3608-44B3-8C78-06A07E8E14F4}">
      <dgm:prSet/>
      <dgm:spPr/>
      <dgm:t>
        <a:bodyPr/>
        <a:lstStyle/>
        <a:p>
          <a:endParaRPr lang="en-US"/>
        </a:p>
      </dgm:t>
    </dgm:pt>
    <dgm:pt modelId="{60544387-EFA4-4FA5-BB5F-9456361F4F8A}" type="sibTrans" cxnId="{8DACD7A6-3608-44B3-8C78-06A07E8E14F4}">
      <dgm:prSet/>
      <dgm:spPr/>
      <dgm:t>
        <a:bodyPr/>
        <a:lstStyle/>
        <a:p>
          <a:endParaRPr lang="en-US"/>
        </a:p>
      </dgm:t>
    </dgm:pt>
    <dgm:pt modelId="{13A67F52-491A-4EB5-A0A5-BCEFDDFF6ABB}" type="pres">
      <dgm:prSet presAssocID="{A4527D49-E58B-44F2-9525-109BBF8AE708}" presName="cycle" presStyleCnt="0">
        <dgm:presLayoutVars>
          <dgm:dir/>
          <dgm:resizeHandles val="exact"/>
        </dgm:presLayoutVars>
      </dgm:prSet>
      <dgm:spPr/>
    </dgm:pt>
    <dgm:pt modelId="{605776DA-206C-4CFD-A380-34503153E181}" type="pres">
      <dgm:prSet presAssocID="{0E3A8320-D063-41E7-B3E6-F1F19D3DAB43}" presName="dummy" presStyleCnt="0"/>
      <dgm:spPr/>
    </dgm:pt>
    <dgm:pt modelId="{F117703B-437B-4CC7-86AD-644EFCD9918B}" type="pres">
      <dgm:prSet presAssocID="{0E3A8320-D063-41E7-B3E6-F1F19D3DAB43}" presName="node" presStyleLbl="revTx" presStyleIdx="0" presStyleCnt="5">
        <dgm:presLayoutVars>
          <dgm:bulletEnabled val="1"/>
        </dgm:presLayoutVars>
      </dgm:prSet>
      <dgm:spPr/>
    </dgm:pt>
    <dgm:pt modelId="{6E400ED2-EF32-4479-AF00-9E9C5847BAFB}" type="pres">
      <dgm:prSet presAssocID="{2780495C-90F9-4D48-A88D-57A1B9FF6EA1}" presName="sibTrans" presStyleLbl="node1" presStyleIdx="0" presStyleCnt="5"/>
      <dgm:spPr/>
    </dgm:pt>
    <dgm:pt modelId="{0FB6E984-6A95-4BC6-A52A-8D0F292108D0}" type="pres">
      <dgm:prSet presAssocID="{3F7C0410-F2D9-4541-A545-6BE794ABA17C}" presName="dummy" presStyleCnt="0"/>
      <dgm:spPr/>
    </dgm:pt>
    <dgm:pt modelId="{DC7EAFC6-1C1F-4B39-86B6-C439ECB38FAC}" type="pres">
      <dgm:prSet presAssocID="{3F7C0410-F2D9-4541-A545-6BE794ABA17C}" presName="node" presStyleLbl="revTx" presStyleIdx="1" presStyleCnt="5">
        <dgm:presLayoutVars>
          <dgm:bulletEnabled val="1"/>
        </dgm:presLayoutVars>
      </dgm:prSet>
      <dgm:spPr/>
    </dgm:pt>
    <dgm:pt modelId="{891B047A-62C8-4722-B5AB-F4BBC7C115E7}" type="pres">
      <dgm:prSet presAssocID="{A7E85E06-151A-413C-AB0A-B2FB86A366C9}" presName="sibTrans" presStyleLbl="node1" presStyleIdx="1" presStyleCnt="5"/>
      <dgm:spPr/>
    </dgm:pt>
    <dgm:pt modelId="{2281D967-C2BC-4200-A2EB-A28EB7EB1CF3}" type="pres">
      <dgm:prSet presAssocID="{386631F7-4E89-42B8-91AE-34E5B6B87EB2}" presName="dummy" presStyleCnt="0"/>
      <dgm:spPr/>
    </dgm:pt>
    <dgm:pt modelId="{823CAAD4-27BC-4CDD-BF28-A8635C75D244}" type="pres">
      <dgm:prSet presAssocID="{386631F7-4E89-42B8-91AE-34E5B6B87EB2}" presName="node" presStyleLbl="revTx" presStyleIdx="2" presStyleCnt="5">
        <dgm:presLayoutVars>
          <dgm:bulletEnabled val="1"/>
        </dgm:presLayoutVars>
      </dgm:prSet>
      <dgm:spPr/>
    </dgm:pt>
    <dgm:pt modelId="{809A8592-A71C-4EE7-871C-D307A2F00850}" type="pres">
      <dgm:prSet presAssocID="{7B2A0797-9D1D-4587-AEF3-0C9433AC905E}" presName="sibTrans" presStyleLbl="node1" presStyleIdx="2" presStyleCnt="5"/>
      <dgm:spPr/>
    </dgm:pt>
    <dgm:pt modelId="{3843E231-A2EC-46C6-A94D-170E051CF163}" type="pres">
      <dgm:prSet presAssocID="{9F97E89E-824D-4D84-A7DD-3A8AFF51FC25}" presName="dummy" presStyleCnt="0"/>
      <dgm:spPr/>
    </dgm:pt>
    <dgm:pt modelId="{D2D08722-13A9-4F8D-8DB9-4AD367FBCE18}" type="pres">
      <dgm:prSet presAssocID="{9F97E89E-824D-4D84-A7DD-3A8AFF51FC25}" presName="node" presStyleLbl="revTx" presStyleIdx="3" presStyleCnt="5">
        <dgm:presLayoutVars>
          <dgm:bulletEnabled val="1"/>
        </dgm:presLayoutVars>
      </dgm:prSet>
      <dgm:spPr/>
    </dgm:pt>
    <dgm:pt modelId="{DE0B6FF8-37CE-464E-BD9B-B2708D5A0802}" type="pres">
      <dgm:prSet presAssocID="{D928C725-953E-4A18-9D39-09AF4C959F51}" presName="sibTrans" presStyleLbl="node1" presStyleIdx="3" presStyleCnt="5"/>
      <dgm:spPr/>
    </dgm:pt>
    <dgm:pt modelId="{E5C78F5B-5CBC-442D-8B78-775BCD021C48}" type="pres">
      <dgm:prSet presAssocID="{9D0AFCAB-37A7-455C-AA75-F757D615AA0C}" presName="dummy" presStyleCnt="0"/>
      <dgm:spPr/>
    </dgm:pt>
    <dgm:pt modelId="{568083A7-1E6F-41E7-9A89-76E5EBD6CA1E}" type="pres">
      <dgm:prSet presAssocID="{9D0AFCAB-37A7-455C-AA75-F757D615AA0C}" presName="node" presStyleLbl="revTx" presStyleIdx="4" presStyleCnt="5">
        <dgm:presLayoutVars>
          <dgm:bulletEnabled val="1"/>
        </dgm:presLayoutVars>
      </dgm:prSet>
      <dgm:spPr/>
    </dgm:pt>
    <dgm:pt modelId="{BBD7EE2D-CDD5-4BEF-9B92-DC3DF8A7EFE3}" type="pres">
      <dgm:prSet presAssocID="{60544387-EFA4-4FA5-BB5F-9456361F4F8A}" presName="sibTrans" presStyleLbl="node1" presStyleIdx="4" presStyleCnt="5"/>
      <dgm:spPr/>
    </dgm:pt>
  </dgm:ptLst>
  <dgm:cxnLst>
    <dgm:cxn modelId="{EC802218-E012-4EF8-95B0-D6E10CC0C06E}" type="presOf" srcId="{D928C725-953E-4A18-9D39-09AF4C959F51}" destId="{DE0B6FF8-37CE-464E-BD9B-B2708D5A0802}" srcOrd="0" destOrd="0" presId="urn:microsoft.com/office/officeart/2005/8/layout/cycle1"/>
    <dgm:cxn modelId="{926D0F20-6D79-4AF9-BBF1-9A98FC989D57}" type="presOf" srcId="{386631F7-4E89-42B8-91AE-34E5B6B87EB2}" destId="{823CAAD4-27BC-4CDD-BF28-A8635C75D244}" srcOrd="0" destOrd="0" presId="urn:microsoft.com/office/officeart/2005/8/layout/cycle1"/>
    <dgm:cxn modelId="{826B7923-B2FB-41EF-970A-B4DF8A5879A2}" srcId="{A4527D49-E58B-44F2-9525-109BBF8AE708}" destId="{9F97E89E-824D-4D84-A7DD-3A8AFF51FC25}" srcOrd="3" destOrd="0" parTransId="{E9E2C887-5EE4-4DD5-B008-7998AF6D8ECA}" sibTransId="{D928C725-953E-4A18-9D39-09AF4C959F51}"/>
    <dgm:cxn modelId="{615C2328-63EF-49F7-8BD0-63992814AE99}" srcId="{A4527D49-E58B-44F2-9525-109BBF8AE708}" destId="{386631F7-4E89-42B8-91AE-34E5B6B87EB2}" srcOrd="2" destOrd="0" parTransId="{9A4A057E-767B-4F6C-95FB-28F26990FCA9}" sibTransId="{7B2A0797-9D1D-4587-AEF3-0C9433AC905E}"/>
    <dgm:cxn modelId="{F924446B-F0CB-4A84-B601-C30B8964C04C}" type="presOf" srcId="{A4527D49-E58B-44F2-9525-109BBF8AE708}" destId="{13A67F52-491A-4EB5-A0A5-BCEFDDFF6ABB}" srcOrd="0" destOrd="0" presId="urn:microsoft.com/office/officeart/2005/8/layout/cycle1"/>
    <dgm:cxn modelId="{B3E1FD70-3769-41F5-953F-A9534D3455D3}" type="presOf" srcId="{60544387-EFA4-4FA5-BB5F-9456361F4F8A}" destId="{BBD7EE2D-CDD5-4BEF-9B92-DC3DF8A7EFE3}" srcOrd="0" destOrd="0" presId="urn:microsoft.com/office/officeart/2005/8/layout/cycle1"/>
    <dgm:cxn modelId="{A9E7E17B-4192-4634-9ACA-7C6013B8CA06}" type="presOf" srcId="{3F7C0410-F2D9-4541-A545-6BE794ABA17C}" destId="{DC7EAFC6-1C1F-4B39-86B6-C439ECB38FAC}" srcOrd="0" destOrd="0" presId="urn:microsoft.com/office/officeart/2005/8/layout/cycle1"/>
    <dgm:cxn modelId="{C9FFE882-CB1F-4476-9FEE-DDFAD666EB46}" type="presOf" srcId="{A7E85E06-151A-413C-AB0A-B2FB86A366C9}" destId="{891B047A-62C8-4722-B5AB-F4BBC7C115E7}" srcOrd="0" destOrd="0" presId="urn:microsoft.com/office/officeart/2005/8/layout/cycle1"/>
    <dgm:cxn modelId="{3B310897-43E8-4990-875B-2306DF42881D}" srcId="{A4527D49-E58B-44F2-9525-109BBF8AE708}" destId="{3F7C0410-F2D9-4541-A545-6BE794ABA17C}" srcOrd="1" destOrd="0" parTransId="{262A2D37-1177-4E6B-8C02-9E17A09E7B9D}" sibTransId="{A7E85E06-151A-413C-AB0A-B2FB86A366C9}"/>
    <dgm:cxn modelId="{F1751B9D-3C52-4C66-9DC6-15941559D026}" type="presOf" srcId="{2780495C-90F9-4D48-A88D-57A1B9FF6EA1}" destId="{6E400ED2-EF32-4479-AF00-9E9C5847BAFB}" srcOrd="0" destOrd="0" presId="urn:microsoft.com/office/officeart/2005/8/layout/cycle1"/>
    <dgm:cxn modelId="{6DB564A1-B093-4B7F-B73F-FCB28DD86345}" srcId="{A4527D49-E58B-44F2-9525-109BBF8AE708}" destId="{0E3A8320-D063-41E7-B3E6-F1F19D3DAB43}" srcOrd="0" destOrd="0" parTransId="{2D456BD5-A5E5-4DEA-B063-83964DC85EB8}" sibTransId="{2780495C-90F9-4D48-A88D-57A1B9FF6EA1}"/>
    <dgm:cxn modelId="{8DACD7A6-3608-44B3-8C78-06A07E8E14F4}" srcId="{A4527D49-E58B-44F2-9525-109BBF8AE708}" destId="{9D0AFCAB-37A7-455C-AA75-F757D615AA0C}" srcOrd="4" destOrd="0" parTransId="{243718B2-9BCD-44A3-990C-6A46BE2B5F1F}" sibTransId="{60544387-EFA4-4FA5-BB5F-9456361F4F8A}"/>
    <dgm:cxn modelId="{CEC46DBA-7D32-4085-89A1-8E18FBCC6680}" type="presOf" srcId="{9F97E89E-824D-4D84-A7DD-3A8AFF51FC25}" destId="{D2D08722-13A9-4F8D-8DB9-4AD367FBCE18}" srcOrd="0" destOrd="0" presId="urn:microsoft.com/office/officeart/2005/8/layout/cycle1"/>
    <dgm:cxn modelId="{6D93FEE2-5B1E-4278-BAC6-80DFAD58FF2A}" type="presOf" srcId="{9D0AFCAB-37A7-455C-AA75-F757D615AA0C}" destId="{568083A7-1E6F-41E7-9A89-76E5EBD6CA1E}" srcOrd="0" destOrd="0" presId="urn:microsoft.com/office/officeart/2005/8/layout/cycle1"/>
    <dgm:cxn modelId="{477F3CE6-0134-4AD6-8801-602B87993DF4}" type="presOf" srcId="{7B2A0797-9D1D-4587-AEF3-0C9433AC905E}" destId="{809A8592-A71C-4EE7-871C-D307A2F00850}" srcOrd="0" destOrd="0" presId="urn:microsoft.com/office/officeart/2005/8/layout/cycle1"/>
    <dgm:cxn modelId="{2F838CE6-A523-4B3D-87A5-0FF208B407A1}" type="presOf" srcId="{0E3A8320-D063-41E7-B3E6-F1F19D3DAB43}" destId="{F117703B-437B-4CC7-86AD-644EFCD9918B}" srcOrd="0" destOrd="0" presId="urn:microsoft.com/office/officeart/2005/8/layout/cycle1"/>
    <dgm:cxn modelId="{E14C1E23-70B9-4B73-BCFE-0768A2950913}" type="presParOf" srcId="{13A67F52-491A-4EB5-A0A5-BCEFDDFF6ABB}" destId="{605776DA-206C-4CFD-A380-34503153E181}" srcOrd="0" destOrd="0" presId="urn:microsoft.com/office/officeart/2005/8/layout/cycle1"/>
    <dgm:cxn modelId="{44B48521-09D6-449D-A970-FDC985AADFD5}" type="presParOf" srcId="{13A67F52-491A-4EB5-A0A5-BCEFDDFF6ABB}" destId="{F117703B-437B-4CC7-86AD-644EFCD9918B}" srcOrd="1" destOrd="0" presId="urn:microsoft.com/office/officeart/2005/8/layout/cycle1"/>
    <dgm:cxn modelId="{F7B39EB2-3658-4655-B4A1-31ACD2D7B526}" type="presParOf" srcId="{13A67F52-491A-4EB5-A0A5-BCEFDDFF6ABB}" destId="{6E400ED2-EF32-4479-AF00-9E9C5847BAFB}" srcOrd="2" destOrd="0" presId="urn:microsoft.com/office/officeart/2005/8/layout/cycle1"/>
    <dgm:cxn modelId="{91BBDB1E-14A2-4537-B1F4-DF3B9712A1E5}" type="presParOf" srcId="{13A67F52-491A-4EB5-A0A5-BCEFDDFF6ABB}" destId="{0FB6E984-6A95-4BC6-A52A-8D0F292108D0}" srcOrd="3" destOrd="0" presId="urn:microsoft.com/office/officeart/2005/8/layout/cycle1"/>
    <dgm:cxn modelId="{81FDFEB0-AFD7-4BA4-BB8B-7303469AA2FB}" type="presParOf" srcId="{13A67F52-491A-4EB5-A0A5-BCEFDDFF6ABB}" destId="{DC7EAFC6-1C1F-4B39-86B6-C439ECB38FAC}" srcOrd="4" destOrd="0" presId="urn:microsoft.com/office/officeart/2005/8/layout/cycle1"/>
    <dgm:cxn modelId="{997916FF-56A9-44FC-AEA9-A18B205ACE24}" type="presParOf" srcId="{13A67F52-491A-4EB5-A0A5-BCEFDDFF6ABB}" destId="{891B047A-62C8-4722-B5AB-F4BBC7C115E7}" srcOrd="5" destOrd="0" presId="urn:microsoft.com/office/officeart/2005/8/layout/cycle1"/>
    <dgm:cxn modelId="{1BFF7E35-0BC9-40F4-A61C-44A7D7480005}" type="presParOf" srcId="{13A67F52-491A-4EB5-A0A5-BCEFDDFF6ABB}" destId="{2281D967-C2BC-4200-A2EB-A28EB7EB1CF3}" srcOrd="6" destOrd="0" presId="urn:microsoft.com/office/officeart/2005/8/layout/cycle1"/>
    <dgm:cxn modelId="{E2987FCA-7CDF-401E-A882-BF797DAE17FB}" type="presParOf" srcId="{13A67F52-491A-4EB5-A0A5-BCEFDDFF6ABB}" destId="{823CAAD4-27BC-4CDD-BF28-A8635C75D244}" srcOrd="7" destOrd="0" presId="urn:microsoft.com/office/officeart/2005/8/layout/cycle1"/>
    <dgm:cxn modelId="{51D4EEC2-A43C-4F23-B4CE-5B25BAEC85BE}" type="presParOf" srcId="{13A67F52-491A-4EB5-A0A5-BCEFDDFF6ABB}" destId="{809A8592-A71C-4EE7-871C-D307A2F00850}" srcOrd="8" destOrd="0" presId="urn:microsoft.com/office/officeart/2005/8/layout/cycle1"/>
    <dgm:cxn modelId="{DC4C263F-9BA7-4516-85E3-EE71CC4BB9DA}" type="presParOf" srcId="{13A67F52-491A-4EB5-A0A5-BCEFDDFF6ABB}" destId="{3843E231-A2EC-46C6-A94D-170E051CF163}" srcOrd="9" destOrd="0" presId="urn:microsoft.com/office/officeart/2005/8/layout/cycle1"/>
    <dgm:cxn modelId="{20C57456-F868-4B87-A333-69A6874C09AE}" type="presParOf" srcId="{13A67F52-491A-4EB5-A0A5-BCEFDDFF6ABB}" destId="{D2D08722-13A9-4F8D-8DB9-4AD367FBCE18}" srcOrd="10" destOrd="0" presId="urn:microsoft.com/office/officeart/2005/8/layout/cycle1"/>
    <dgm:cxn modelId="{F2B785CD-91B2-4A8A-9105-44343D75C738}" type="presParOf" srcId="{13A67F52-491A-4EB5-A0A5-BCEFDDFF6ABB}" destId="{DE0B6FF8-37CE-464E-BD9B-B2708D5A0802}" srcOrd="11" destOrd="0" presId="urn:microsoft.com/office/officeart/2005/8/layout/cycle1"/>
    <dgm:cxn modelId="{363A7F8D-33C3-4E4F-AD60-DB57EFF32291}" type="presParOf" srcId="{13A67F52-491A-4EB5-A0A5-BCEFDDFF6ABB}" destId="{E5C78F5B-5CBC-442D-8B78-775BCD021C48}" srcOrd="12" destOrd="0" presId="urn:microsoft.com/office/officeart/2005/8/layout/cycle1"/>
    <dgm:cxn modelId="{23F8C688-ACA1-491D-9EA3-344623F10CDD}" type="presParOf" srcId="{13A67F52-491A-4EB5-A0A5-BCEFDDFF6ABB}" destId="{568083A7-1E6F-41E7-9A89-76E5EBD6CA1E}" srcOrd="13" destOrd="0" presId="urn:microsoft.com/office/officeart/2005/8/layout/cycle1"/>
    <dgm:cxn modelId="{3C999216-FA29-427F-AD1B-9EE912E43BE1}" type="presParOf" srcId="{13A67F52-491A-4EB5-A0A5-BCEFDDFF6ABB}" destId="{BBD7EE2D-CDD5-4BEF-9B92-DC3DF8A7EFE3}" srcOrd="14" destOrd="0" presId="urn:microsoft.com/office/officeart/2005/8/layout/cycle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117703B-437B-4CC7-86AD-644EFCD9918B}">
      <dsp:nvSpPr>
        <dsp:cNvPr id="0" name=""/>
        <dsp:cNvSpPr/>
      </dsp:nvSpPr>
      <dsp:spPr>
        <a:xfrm>
          <a:off x="4204551" y="34979"/>
          <a:ext cx="1198840" cy="119884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8260" tIns="48260" rIns="48260" bIns="48260" numCol="1" spcCol="1270" anchor="ctr" anchorCtr="0">
          <a:noAutofit/>
        </a:bodyPr>
        <a:lstStyle/>
        <a:p>
          <a:pPr marL="0" lvl="0" indent="0" algn="ctr" defTabSz="1689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3800" kern="1200" dirty="0"/>
        </a:p>
      </dsp:txBody>
      <dsp:txXfrm>
        <a:off x="4204551" y="34979"/>
        <a:ext cx="1198840" cy="1198840"/>
      </dsp:txXfrm>
    </dsp:sp>
    <dsp:sp modelId="{6E400ED2-EF32-4479-AF00-9E9C5847BAFB}">
      <dsp:nvSpPr>
        <dsp:cNvPr id="0" name=""/>
        <dsp:cNvSpPr/>
      </dsp:nvSpPr>
      <dsp:spPr>
        <a:xfrm>
          <a:off x="1384839" y="344"/>
          <a:ext cx="4494299" cy="4494299"/>
        </a:xfrm>
        <a:prstGeom prst="circularArrow">
          <a:avLst>
            <a:gd name="adj1" fmla="val 5202"/>
            <a:gd name="adj2" fmla="val 336015"/>
            <a:gd name="adj3" fmla="val 21292825"/>
            <a:gd name="adj4" fmla="val 19766604"/>
            <a:gd name="adj5" fmla="val 6068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C7EAFC6-1C1F-4B39-86B6-C439ECB38FAC}">
      <dsp:nvSpPr>
        <dsp:cNvPr id="0" name=""/>
        <dsp:cNvSpPr/>
      </dsp:nvSpPr>
      <dsp:spPr>
        <a:xfrm>
          <a:off x="4928875" y="2264221"/>
          <a:ext cx="1198840" cy="119884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8260" tIns="48260" rIns="48260" bIns="48260" numCol="1" spcCol="1270" anchor="ctr" anchorCtr="0">
          <a:noAutofit/>
        </a:bodyPr>
        <a:lstStyle/>
        <a:p>
          <a:pPr marL="0" lvl="0" indent="0" algn="ctr" defTabSz="1689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3800" kern="1200" dirty="0"/>
        </a:p>
      </dsp:txBody>
      <dsp:txXfrm>
        <a:off x="4928875" y="2264221"/>
        <a:ext cx="1198840" cy="1198840"/>
      </dsp:txXfrm>
    </dsp:sp>
    <dsp:sp modelId="{891B047A-62C8-4722-B5AB-F4BBC7C115E7}">
      <dsp:nvSpPr>
        <dsp:cNvPr id="0" name=""/>
        <dsp:cNvSpPr/>
      </dsp:nvSpPr>
      <dsp:spPr>
        <a:xfrm>
          <a:off x="1384839" y="344"/>
          <a:ext cx="4494299" cy="4494299"/>
        </a:xfrm>
        <a:prstGeom prst="circularArrow">
          <a:avLst>
            <a:gd name="adj1" fmla="val 5202"/>
            <a:gd name="adj2" fmla="val 336015"/>
            <a:gd name="adj3" fmla="val 4014266"/>
            <a:gd name="adj4" fmla="val 2253829"/>
            <a:gd name="adj5" fmla="val 6068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23CAAD4-27BC-4CDD-BF28-A8635C75D244}">
      <dsp:nvSpPr>
        <dsp:cNvPr id="0" name=""/>
        <dsp:cNvSpPr/>
      </dsp:nvSpPr>
      <dsp:spPr>
        <a:xfrm>
          <a:off x="3032569" y="3641969"/>
          <a:ext cx="1198840" cy="119884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8260" tIns="48260" rIns="48260" bIns="48260" numCol="1" spcCol="1270" anchor="ctr" anchorCtr="0">
          <a:noAutofit/>
        </a:bodyPr>
        <a:lstStyle/>
        <a:p>
          <a:pPr marL="0" lvl="0" indent="0" algn="ctr" defTabSz="1689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3800" kern="1200"/>
        </a:p>
      </dsp:txBody>
      <dsp:txXfrm>
        <a:off x="3032569" y="3641969"/>
        <a:ext cx="1198840" cy="1198840"/>
      </dsp:txXfrm>
    </dsp:sp>
    <dsp:sp modelId="{809A8592-A71C-4EE7-871C-D307A2F00850}">
      <dsp:nvSpPr>
        <dsp:cNvPr id="0" name=""/>
        <dsp:cNvSpPr/>
      </dsp:nvSpPr>
      <dsp:spPr>
        <a:xfrm>
          <a:off x="1384839" y="344"/>
          <a:ext cx="4494299" cy="4494299"/>
        </a:xfrm>
        <a:prstGeom prst="circularArrow">
          <a:avLst>
            <a:gd name="adj1" fmla="val 5202"/>
            <a:gd name="adj2" fmla="val 336015"/>
            <a:gd name="adj3" fmla="val 8210155"/>
            <a:gd name="adj4" fmla="val 6449719"/>
            <a:gd name="adj5" fmla="val 6068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2D08722-13A9-4F8D-8DB9-4AD367FBCE18}">
      <dsp:nvSpPr>
        <dsp:cNvPr id="0" name=""/>
        <dsp:cNvSpPr/>
      </dsp:nvSpPr>
      <dsp:spPr>
        <a:xfrm>
          <a:off x="1136262" y="2264221"/>
          <a:ext cx="1198840" cy="119884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8260" tIns="48260" rIns="48260" bIns="48260" numCol="1" spcCol="1270" anchor="ctr" anchorCtr="0">
          <a:noAutofit/>
        </a:bodyPr>
        <a:lstStyle/>
        <a:p>
          <a:pPr marL="0" lvl="0" indent="0" algn="ctr" defTabSz="1689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3800" kern="1200" dirty="0"/>
        </a:p>
      </dsp:txBody>
      <dsp:txXfrm>
        <a:off x="1136262" y="2264221"/>
        <a:ext cx="1198840" cy="1198840"/>
      </dsp:txXfrm>
    </dsp:sp>
    <dsp:sp modelId="{DE0B6FF8-37CE-464E-BD9B-B2708D5A0802}">
      <dsp:nvSpPr>
        <dsp:cNvPr id="0" name=""/>
        <dsp:cNvSpPr/>
      </dsp:nvSpPr>
      <dsp:spPr>
        <a:xfrm>
          <a:off x="1384839" y="344"/>
          <a:ext cx="4494299" cy="4494299"/>
        </a:xfrm>
        <a:prstGeom prst="circularArrow">
          <a:avLst>
            <a:gd name="adj1" fmla="val 5202"/>
            <a:gd name="adj2" fmla="val 336015"/>
            <a:gd name="adj3" fmla="val 12297380"/>
            <a:gd name="adj4" fmla="val 10771160"/>
            <a:gd name="adj5" fmla="val 6068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68083A7-1E6F-41E7-9A89-76E5EBD6CA1E}">
      <dsp:nvSpPr>
        <dsp:cNvPr id="0" name=""/>
        <dsp:cNvSpPr/>
      </dsp:nvSpPr>
      <dsp:spPr>
        <a:xfrm>
          <a:off x="1860587" y="34979"/>
          <a:ext cx="1198840" cy="119884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8260" tIns="48260" rIns="48260" bIns="48260" numCol="1" spcCol="1270" anchor="ctr" anchorCtr="0">
          <a:noAutofit/>
        </a:bodyPr>
        <a:lstStyle/>
        <a:p>
          <a:pPr marL="0" lvl="0" indent="0" algn="ctr" defTabSz="1689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3800" kern="1200"/>
        </a:p>
      </dsp:txBody>
      <dsp:txXfrm>
        <a:off x="1860587" y="34979"/>
        <a:ext cx="1198840" cy="1198840"/>
      </dsp:txXfrm>
    </dsp:sp>
    <dsp:sp modelId="{BBD7EE2D-CDD5-4BEF-9B92-DC3DF8A7EFE3}">
      <dsp:nvSpPr>
        <dsp:cNvPr id="0" name=""/>
        <dsp:cNvSpPr/>
      </dsp:nvSpPr>
      <dsp:spPr>
        <a:xfrm>
          <a:off x="1384839" y="344"/>
          <a:ext cx="4494299" cy="4494299"/>
        </a:xfrm>
        <a:prstGeom prst="circularArrow">
          <a:avLst>
            <a:gd name="adj1" fmla="val 5202"/>
            <a:gd name="adj2" fmla="val 336015"/>
            <a:gd name="adj3" fmla="val 16865256"/>
            <a:gd name="adj4" fmla="val 15198729"/>
            <a:gd name="adj5" fmla="val 6068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ycle1">
  <dgm:title val=""/>
  <dgm:desc val=""/>
  <dgm:catLst>
    <dgm:cat type="cycle" pri="2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ycle">
    <dgm:varLst>
      <dgm:dir/>
      <dgm:resizeHandles val="exact"/>
    </dgm:varLst>
    <dgm:choose name="Name0">
      <dgm:if name="Name1" func="var" arg="dir" op="equ" val="norm">
        <dgm:alg type="cycle">
          <dgm:param type="stAng" val="0"/>
          <dgm:param type="spanAng" val="360"/>
        </dgm:alg>
      </dgm:if>
      <dgm:else name="Name2">
        <dgm:alg type="cycle">
          <dgm:param type="stAng" val="0"/>
          <dgm:param type="spanAng" val="-360"/>
        </dgm:alg>
      </dgm:else>
    </dgm:choose>
    <dgm:shape xmlns:r="http://schemas.openxmlformats.org/officeDocument/2006/relationships" r:blip="">
      <dgm:adjLst/>
    </dgm:shape>
    <dgm:presOf/>
    <dgm:choose name="Name3">
      <dgm:if name="Name4" func="var" arg="dir" op="equ" val="norm">
        <dgm:constrLst>
          <dgm:constr type="diam" val="1"/>
          <dgm:constr type="w" for="ch" forName="node" refType="w"/>
          <dgm:constr type="w" for="ch" ptType="sibTrans" refType="w" refFor="ch" refForName="node" fact="0.5"/>
          <dgm:constr type="h" for="ch" ptType="sibTrans" op="equ"/>
          <dgm:constr type="diam" for="ch" ptType="sibTrans" refType="diam" op="equ"/>
          <dgm:constr type="sibSp" refType="w" refFor="ch" refForName="node" fact="0.15"/>
          <dgm:constr type="w" for="ch" forName="dummy" refType="sibSp" fact="2.8"/>
          <dgm:constr type="primFontSz" for="ch" forName="node" op="equ" val="65"/>
        </dgm:constrLst>
      </dgm:if>
      <dgm:else name="Name5">
        <dgm:constrLst>
          <dgm:constr type="diam" val="1"/>
          <dgm:constr type="w" for="ch" forName="node" refType="w"/>
          <dgm:constr type="w" for="ch" ptType="sibTrans" refType="w" refFor="ch" refForName="node" fact="0.5"/>
          <dgm:constr type="h" for="ch" ptType="sibTrans" op="equ"/>
          <dgm:constr type="diam" for="ch" ptType="sibTrans" refType="diam" op="equ" fact="-1"/>
          <dgm:constr type="sibSp" refType="w" refFor="ch" refForName="node" fact="0.15"/>
          <dgm:constr type="w" for="ch" forName="dummy" refType="sibSp" fact="2.8"/>
          <dgm:constr type="primFontSz" for="ch" forName="node" op="equ" val="65"/>
        </dgm:constrLst>
      </dgm:else>
    </dgm:choose>
    <dgm:ruleLst>
      <dgm:rule type="diam" val="INF" fact="NaN" max="NaN"/>
    </dgm:ruleLst>
    <dgm:forEach name="nodesForEach" axis="ch" ptType="node">
      <dgm:choose name="Name6">
        <dgm:if name="Name7" axis="par ch" ptType="doc node" func="cnt" op="gt" val="1">
          <dgm:layoutNode name="dummy">
            <dgm:alg type="sp"/>
            <dgm:shape xmlns:r="http://schemas.openxmlformats.org/officeDocument/2006/relationships" r:blip="">
              <dgm:adjLst/>
            </dgm:shape>
            <dgm:presOf/>
            <dgm:constrLst>
              <dgm:constr type="h" refType="w"/>
            </dgm:constrLst>
            <dgm:ruleLst/>
          </dgm:layoutNode>
        </dgm:if>
        <dgm:else name="Name8"/>
      </dgm:choose>
      <dgm:layoutNode name="node" styleLbl="revTx">
        <dgm:varLst>
          <dgm:bulletEnabled val="1"/>
        </dgm:varLst>
        <dgm:alg type="tx">
          <dgm:param type="txAnchorVertCh" val="mid"/>
        </dgm:alg>
        <dgm:shape xmlns:r="http://schemas.openxmlformats.org/officeDocument/2006/relationships" type="rect" r:blip="">
          <dgm:adjLst/>
        </dgm:shape>
        <dgm:presOf axis="desOrSelf" ptType="node"/>
        <dgm:constrLst>
          <dgm:constr type="h" refType="w"/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  <dgm:choose name="Name9">
        <dgm:if name="Name10" axis="par ch" ptType="doc node" func="cnt" op="gt" val="1">
          <dgm:forEach name="Name11" axis="followSib" ptType="sibTrans" hideLastTrans="0" cnt="1">
            <dgm:layoutNode name="sibTrans" styleLbl="node1">
              <dgm:alg type="conn">
                <dgm:param type="connRout" val="curve"/>
                <dgm:param type="begPts" val="radial"/>
                <dgm:param type="endPts" val="radial"/>
              </dgm:alg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h" refType="w" fact="0.65"/>
                <dgm:constr type="begPad"/>
                <dgm:constr type="endPad"/>
              </dgm:constrLst>
              <dgm:ruleLst/>
            </dgm:layoutNode>
          </dgm:forEach>
        </dgm:if>
        <dgm:else name="Name12"/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169920" cy="481727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143587" y="0"/>
            <a:ext cx="3169920" cy="481727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r">
              <a:defRPr sz="1300"/>
            </a:lvl1pPr>
          </a:lstStyle>
          <a:p>
            <a:fld id="{E055F887-0F6B-4680-AD0F-2A4CB08A2890}" type="datetimeFigureOut">
              <a:rPr lang="en-US" smtClean="0"/>
              <a:t>8/9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77875" y="1200150"/>
            <a:ext cx="5759450" cy="32400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661" tIns="48331" rIns="96661" bIns="48331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31520" y="4620577"/>
            <a:ext cx="5852160" cy="3780473"/>
          </a:xfrm>
          <a:prstGeom prst="rect">
            <a:avLst/>
          </a:prstGeom>
        </p:spPr>
        <p:txBody>
          <a:bodyPr vert="horz" lIns="96661" tIns="48331" rIns="96661" bIns="48331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119474"/>
            <a:ext cx="3169920" cy="481726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143587" y="9119474"/>
            <a:ext cx="3169920" cy="481726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r">
              <a:defRPr sz="1300"/>
            </a:lvl1pPr>
          </a:lstStyle>
          <a:p>
            <a:fld id="{9714316F-8007-482F-B418-FAF0DED01E4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109534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powerusersoftwares.com/" TargetMode="External"/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www.powerusersoftwares.com/terms" TargetMode="Externa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powerusersoftwares.com/" TargetMode="External"/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www.powerusersoftwares.com/terms" TargetMode="Externa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This template was inserted from Power-user, the productivity add-in for PowerPoint, Excel and Word.</a:t>
            </a:r>
          </a:p>
          <a:p>
            <a:r>
              <a:rPr lang="en-US"/>
              <a:t>Install Power-user to access thousands of templates, icons, maps, diagrams and charts with Power-user.</a:t>
            </a:r>
          </a:p>
          <a:p>
            <a:r>
              <a:rPr lang="en-US"/>
              <a:t>Visit </a:t>
            </a:r>
            <a:r>
              <a:rPr lang="en-US">
                <a:hlinkClick r:id="rId3"/>
              </a:rPr>
              <a:t>https://www.powerusersoftwares.com/</a:t>
            </a:r>
            <a:endParaRPr lang="en-US"/>
          </a:p>
          <a:p>
            <a:r>
              <a:rPr lang="en-US"/>
              <a:t>©Power-user SAS, terms of license: </a:t>
            </a:r>
            <a:r>
              <a:rPr lang="en-US">
                <a:hlinkClick r:id="rId4"/>
              </a:rPr>
              <a:t>https://www.powerusersoftwares.com/term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A55CF2-256D-44FD-9430-5B63A079CF51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2638763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714316F-8007-482F-B418-FAF0DED01E4F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77987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This template was inserted from Power-user, the productivity add-in for PowerPoint, Excel and Word.</a:t>
            </a:r>
          </a:p>
          <a:p>
            <a:r>
              <a:rPr lang="en-US"/>
              <a:t>Install Power-user to access thousands of templates, icons, maps, diagrams and charts with Power-user.</a:t>
            </a:r>
          </a:p>
          <a:p>
            <a:r>
              <a:rPr lang="en-US"/>
              <a:t>Visit </a:t>
            </a:r>
            <a:r>
              <a:rPr lang="en-US">
                <a:hlinkClick r:id="rId3"/>
              </a:rPr>
              <a:t>https://www.powerusersoftwares.com/</a:t>
            </a:r>
            <a:endParaRPr lang="en-US"/>
          </a:p>
          <a:p>
            <a:r>
              <a:rPr lang="en-US"/>
              <a:t>©Power-user SAS, terms of license: </a:t>
            </a:r>
            <a:r>
              <a:rPr lang="en-US">
                <a:hlinkClick r:id="rId4"/>
              </a:rPr>
              <a:t>https://www.powerusersoftwares.com/terms</a:t>
            </a:r>
            <a:endParaRPr lang="km-KH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4A55CF2-256D-44FD-9430-5B63A079CF51}" type="slidenum">
              <a:rPr lang="km-KH" smtClean="0"/>
              <a:t>4</a:t>
            </a:fld>
            <a:endParaRPr lang="km-KH" dirty="0"/>
          </a:p>
        </p:txBody>
      </p:sp>
    </p:spTree>
    <p:extLst>
      <p:ext uri="{BB962C8B-B14F-4D97-AF65-F5344CB8AC3E}">
        <p14:creationId xmlns:p14="http://schemas.microsoft.com/office/powerpoint/2010/main" val="218283796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86354427-D3F6-F4CD-5188-CB184342842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DCC512D-83FF-3CB2-3732-43F2D10440A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37309" y="1122363"/>
            <a:ext cx="7086600" cy="2387600"/>
          </a:xfrm>
          <a:prstGeom prst="rect">
            <a:avLst/>
          </a:prstGeom>
        </p:spPr>
        <p:txBody>
          <a:bodyPr anchor="b"/>
          <a:lstStyle>
            <a:lvl1pPr algn="l">
              <a:defRPr sz="6000" b="0">
                <a:solidFill>
                  <a:schemeClr val="accent1"/>
                </a:solidFill>
                <a:latin typeface="Khmer OS Muol Light" panose="02000500000000020004" pitchFamily="2" charset="0"/>
                <a:cs typeface="Khmer OS Muol Light" panose="02000500000000020004" pitchFamily="2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639332E-3068-53F3-66F5-14D30564C65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37309" y="3602038"/>
            <a:ext cx="7086600" cy="165576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>
                <a:latin typeface="Khmer OS Siemreap" panose="02000500000000020004" pitchFamily="2" charset="0"/>
                <a:cs typeface="Khmer OS Siemreap" panose="02000500000000020004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8FE8482-F74C-80C6-5BA9-50F88538BC0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2395C5C9-164C-46B3-A87E-7660D39D3106}" type="datetime2">
              <a:rPr lang="en-US" smtClean="0"/>
              <a:t>Wednesday, August 9, 2023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03F1B28-DB25-B3C1-1853-5187F9C724A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pPr algn="l"/>
            <a:r>
              <a:rPr lang="en-US"/>
              <a:t>Sample Footer Text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BB7EFEC-1030-2436-64A5-EE127C7D04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1621B6DD-29C1-4FEA-923F-71EA1347694C}" type="slidenum">
              <a:rPr lang="en-US" smtClean="0"/>
              <a:t>‹#›</a:t>
            </a:fld>
            <a:endParaRPr lang="en-US"/>
          </a:p>
        </p:txBody>
      </p:sp>
      <p:pic>
        <p:nvPicPr>
          <p:cNvPr id="7" name="Picture 6" descr="A picture containing kiwi&#10;&#10;Description automatically generated">
            <a:extLst>
              <a:ext uri="{FF2B5EF4-FFF2-40B4-BE49-F238E27FC236}">
                <a16:creationId xmlns:a16="http://schemas.microsoft.com/office/drawing/2014/main" id="{6BA84750-4C81-9B89-AEB2-E16E8339357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0224"/>
          <a:stretch/>
        </p:blipFill>
        <p:spPr>
          <a:xfrm>
            <a:off x="6838950" y="0"/>
            <a:ext cx="5353050" cy="6858000"/>
          </a:xfrm>
          <a:prstGeom prst="rect">
            <a:avLst/>
          </a:prstGeom>
        </p:spPr>
      </p:pic>
      <p:pic>
        <p:nvPicPr>
          <p:cNvPr id="8" name="Picture 7" descr="Diagram&#10;&#10;Description automatically generated with medium confidence">
            <a:extLst>
              <a:ext uri="{FF2B5EF4-FFF2-40B4-BE49-F238E27FC236}">
                <a16:creationId xmlns:a16="http://schemas.microsoft.com/office/drawing/2014/main" id="{FBFE0DDB-8D8E-A0E5-3D0D-87C00352661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31581" y="5143337"/>
            <a:ext cx="1470891" cy="1476537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8F88AA93-8525-DF2B-20CD-0DD1B37DC84D}"/>
              </a:ext>
            </a:extLst>
          </p:cNvPr>
          <p:cNvSpPr/>
          <p:nvPr userDrawn="1"/>
        </p:nvSpPr>
        <p:spPr>
          <a:xfrm>
            <a:off x="1117600" y="591127"/>
            <a:ext cx="5569527" cy="394711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2D37577-942A-5378-1B5C-40DBEC146832}"/>
              </a:ext>
            </a:extLst>
          </p:cNvPr>
          <p:cNvSpPr/>
          <p:nvPr userDrawn="1"/>
        </p:nvSpPr>
        <p:spPr>
          <a:xfrm>
            <a:off x="634712" y="591127"/>
            <a:ext cx="408997" cy="394711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007378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FCF22D3-3924-0EBA-224F-B2110F7F11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16364" y="328180"/>
            <a:ext cx="9737436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83332852-BEC4-CD60-4228-077B9F4CD55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1788680"/>
            <a:ext cx="10515600" cy="43513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E2A9404-85AE-7A0E-D812-E5E4A111274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B75179A-1E2B-41AB-B400-4F1B4022FAEE}" type="datetime2">
              <a:rPr lang="en-US" smtClean="0"/>
              <a:t>Wednesday, August 9, 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2E19F19-9641-C737-BDB6-7AB2941C628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Sample Footer Tex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912C303-56A2-B8D9-5FF4-CAAEBB3617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1621B6DD-29C1-4FEA-923F-71EA1347694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0246235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34173C69-5E27-D6AE-F6D4-8FFC84B5EDBD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  <a:prstGeom prst="rect">
            <a:avLst/>
          </a:prstGeo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998048B9-EDA4-FC6A-CAAB-DE58E9A7442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0E1C53F-7278-163F-CD6F-4CE94F955FF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05681D0F-6595-4F14-8EF3-954CD87C797B}" type="datetime2">
              <a:rPr lang="en-US" smtClean="0"/>
              <a:t>Wednesday, August 9, 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1F71F79-B582-1E16-6B73-E9A30AD5D76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Sample Footer Tex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80BBCC5-D3BE-F2F2-98F9-793C694D3D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1621B6DD-29C1-4FEA-923F-71EA1347694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1681519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faul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4547591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0C3459C-7C90-60EA-DBA7-2A87BDF483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16364" y="249382"/>
            <a:ext cx="9737436" cy="900256"/>
          </a:xfrm>
          <a:prstGeom prst="rect">
            <a:avLst/>
          </a:prstGeom>
        </p:spPr>
        <p:txBody>
          <a:bodyPr/>
          <a:lstStyle>
            <a:lvl1pPr>
              <a:lnSpc>
                <a:spcPct val="120000"/>
              </a:lnSpc>
              <a:defRPr b="1">
                <a:solidFill>
                  <a:srgbClr val="002060"/>
                </a:solidFill>
                <a:latin typeface="Khmer OS Siemreap" panose="02000500000000020004" pitchFamily="2" charset="0"/>
                <a:cs typeface="Khmer OS Siemreap" panose="02000500000000020004" pitchFamily="2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8BAF831-039E-6495-B6B8-34334E308FA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560945"/>
            <a:ext cx="10515600" cy="4579073"/>
          </a:xfrm>
          <a:prstGeom prst="rect">
            <a:avLst/>
          </a:prstGeom>
        </p:spPr>
        <p:txBody>
          <a:bodyPr/>
          <a:lstStyle>
            <a:lvl1pPr>
              <a:lnSpc>
                <a:spcPct val="120000"/>
              </a:lnSpc>
              <a:defRPr>
                <a:latin typeface="Khmer OS Siemreap" panose="02000500000000020004" pitchFamily="2" charset="0"/>
                <a:cs typeface="Khmer OS Siemreap" panose="02000500000000020004" pitchFamily="2" charset="0"/>
              </a:defRPr>
            </a:lvl1pPr>
            <a:lvl2pPr>
              <a:lnSpc>
                <a:spcPct val="120000"/>
              </a:lnSpc>
              <a:defRPr>
                <a:latin typeface="Khmer OS Siemreap" panose="02000500000000020004" pitchFamily="2" charset="0"/>
                <a:cs typeface="Khmer OS Siemreap" panose="02000500000000020004" pitchFamily="2" charset="0"/>
              </a:defRPr>
            </a:lvl2pPr>
            <a:lvl3pPr>
              <a:lnSpc>
                <a:spcPct val="120000"/>
              </a:lnSpc>
              <a:defRPr>
                <a:latin typeface="Khmer OS Siemreap" panose="02000500000000020004" pitchFamily="2" charset="0"/>
                <a:cs typeface="Khmer OS Siemreap" panose="02000500000000020004" pitchFamily="2" charset="0"/>
              </a:defRPr>
            </a:lvl3pPr>
            <a:lvl4pPr>
              <a:lnSpc>
                <a:spcPct val="120000"/>
              </a:lnSpc>
              <a:defRPr>
                <a:latin typeface="Khmer OS Siemreap" panose="02000500000000020004" pitchFamily="2" charset="0"/>
                <a:cs typeface="Khmer OS Siemreap" panose="02000500000000020004" pitchFamily="2" charset="0"/>
              </a:defRPr>
            </a:lvl4pPr>
            <a:lvl5pPr>
              <a:lnSpc>
                <a:spcPct val="120000"/>
              </a:lnSpc>
              <a:defRPr>
                <a:latin typeface="Khmer OS Siemreap" panose="02000500000000020004" pitchFamily="2" charset="0"/>
                <a:cs typeface="Khmer OS Siemreap" panose="02000500000000020004" pitchFamily="2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BC757CB-4E6B-8A6E-32D6-F10A0CFDE70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4DDCFF8A-AAF8-4A12-8A91-9CA0EAF6CBB9}" type="datetime2">
              <a:rPr lang="en-US" smtClean="0"/>
              <a:t>Wednesday, August 9, 2023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B257810-79E3-C600-3003-4366B60F42F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pPr algn="l"/>
            <a:r>
              <a:rPr lang="en-US"/>
              <a:t>Sample Footer Text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5A0242E-A925-BC6C-0966-902ABF13005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1621B6DD-29C1-4FEA-923F-71EA1347694C}" type="slidenum">
              <a:rPr lang="en-US" smtClean="0"/>
              <a:t>‹#›</a:t>
            </a:fld>
            <a:endParaRPr lang="en-US"/>
          </a:p>
        </p:txBody>
      </p:sp>
      <p:pic>
        <p:nvPicPr>
          <p:cNvPr id="7" name="Graphic 6" descr="Connections outline">
            <a:extLst>
              <a:ext uri="{FF2B5EF4-FFF2-40B4-BE49-F238E27FC236}">
                <a16:creationId xmlns:a16="http://schemas.microsoft.com/office/drawing/2014/main" id="{752FC225-76EB-EEE5-20A7-07C60B444C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90945" y="314036"/>
            <a:ext cx="914400" cy="914400"/>
          </a:xfrm>
          <a:prstGeom prst="rect">
            <a:avLst/>
          </a:prstGeom>
        </p:spPr>
      </p:pic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8A03E2E1-EDFC-FB57-B39E-3D6A59CFE6C4}"/>
              </a:ext>
            </a:extLst>
          </p:cNvPr>
          <p:cNvCxnSpPr/>
          <p:nvPr userDrawn="1"/>
        </p:nvCxnSpPr>
        <p:spPr>
          <a:xfrm>
            <a:off x="1385455" y="249382"/>
            <a:ext cx="0" cy="979054"/>
          </a:xfrm>
          <a:prstGeom prst="line">
            <a:avLst/>
          </a:prstGeom>
          <a:ln w="762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 descr="A picture containing kiwi&#10;&#10;Description automatically generated">
            <a:extLst>
              <a:ext uri="{FF2B5EF4-FFF2-40B4-BE49-F238E27FC236}">
                <a16:creationId xmlns:a16="http://schemas.microsoft.com/office/drawing/2014/main" id="{78C95990-1142-E497-46A3-F8FA11B3A25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2913"/>
          <a:stretch/>
        </p:blipFill>
        <p:spPr>
          <a:xfrm>
            <a:off x="11575619" y="0"/>
            <a:ext cx="616381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585994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7E4A888-F356-A76D-1E2B-55F6833AF5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  <a:prstGeom prst="rect">
            <a:avLst/>
          </a:prstGeo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53DAD42-68EE-353F-1C89-C39AF405D4D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3DE77D8-0575-13FB-A87B-E2D0C72FC00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ABCC25C3-021A-4B0B-8F70-0C181FE1CF45}" type="datetime2">
              <a:rPr lang="en-US" smtClean="0"/>
              <a:t>Wednesday, August 9, 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64E80A9-70E9-13C4-F0ED-2B98E91ACE3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pPr algn="l"/>
            <a:r>
              <a:rPr lang="en-US"/>
              <a:t>Sample Footer Text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4007E98-1EFD-C815-8EAA-941B8F0CE9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1621B6DD-29C1-4FEA-923F-71EA1347694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5642441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F404C70-633E-E00B-58CB-C82CBB17A6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16364" y="328180"/>
            <a:ext cx="9737436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4044E4D-B7B8-1508-907A-C2D7DDAA7DA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5CCA9C4-ABA2-6D49-4522-D329F9CFCD0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525F219-641B-8628-F3F2-0672CDF02EB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0C23D88D-8CEC-4ED9-A53B-5596187D9A16}" type="datetime2">
              <a:rPr lang="en-US" smtClean="0"/>
              <a:t>Wednesday, August 9, 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C264097-FA17-89E2-0077-CF222B44C4D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Sample Footer Text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63D87D0-74FE-EEE1-9A30-098DA909C7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1621B6DD-29C1-4FEA-923F-71EA1347694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5751175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3856064-6145-DA88-3F37-FEE129DB86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9FE19C7-DEB1-820E-C284-F84F52831FA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56793BA-00CC-D219-92B2-6E62D5E669F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F7F4FF1-2952-2C10-89BC-97D38237EBD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DFB215A3-74F2-FCFF-7F30-7D618B6F292A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F2D8E41-9266-4C70-9970-297F483BD52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D2CCD382-DFDA-4722-A27A-59C21AD112F2}" type="datetime2">
              <a:rPr lang="en-US" smtClean="0"/>
              <a:t>Wednesday, August 9, 2023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E1D42E1D-D383-0904-E3F5-8A59E3209E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Sample Footer Text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B175C86-F65F-D5F5-1FB4-977C893B05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1621B6DD-29C1-4FEA-923F-71EA1347694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8600393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212216C-6D83-4CB8-411A-FAB64B33C4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16364" y="328180"/>
            <a:ext cx="9737436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BA7F084-3BE1-5BB8-BE3C-B16AE50A28E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22F2A30D-1C09-413F-AAB1-38F366000715}" type="datetime2">
              <a:rPr lang="en-US" smtClean="0"/>
              <a:t>Wednesday, August 9, 20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AE0C303-9163-D58B-7F88-2A1C8DC726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Sample Footer Text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B4AAF21-937A-AFB9-9F31-052220BE2D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1621B6DD-29C1-4FEA-923F-71EA1347694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964388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7F62B9B-848E-86A2-4B74-9F912277BC9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6DB82B9C-D65E-4F64-95C3-B10F3B00F0D9}" type="datetime2">
              <a:rPr lang="en-US" smtClean="0"/>
              <a:t>Wednesday, August 9, 2023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9B4BF86-FE1F-D86F-3409-559521F42E6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Sample Footer Tex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AF37971-E865-A096-6915-B01B7207E2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1621B6DD-29C1-4FEA-923F-71EA1347694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960110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9401F64-FE16-9B02-8739-75CFD9A43C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AB9FC01-04E9-3EE2-9549-950BCD1D8FD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AF80B51-BB0D-268E-D546-1B9FF7896F0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93B163C-5743-EC43-32FA-333BE5E674F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B7F5FDCC-6AAC-4A08-B9E0-3793AB5E64C3}" type="datetime2">
              <a:rPr lang="en-US" smtClean="0"/>
              <a:t>Wednesday, August 9, 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6C1881E-017F-E71E-5492-348834C8A4C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Sample Footer Text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9381FDC-5DD0-0295-3E00-0D94D35650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1621B6DD-29C1-4FEA-923F-71EA1347694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530820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E80617-B799-5584-7661-68074957EC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E0DE7066-A336-16F5-569D-D4632192BF8F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F68DEB8-35DF-E1C4-B9AB-BCD2283E4F4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75F5671-0514-B920-D0AF-D60BE1DC10A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349FE94D-439C-40F1-900E-BC07940E3988}" type="datetime2">
              <a:rPr lang="en-US" smtClean="0"/>
              <a:t>Wednesday, August 9, 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180233E-4BB2-3AF1-78BB-7C0BA6D040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Sample Footer Text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3E26E8B-9010-D231-7E14-076B9A614C7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1621B6DD-29C1-4FEA-923F-71EA1347694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9294970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sv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phic 11" descr="Connections outline">
            <a:extLst>
              <a:ext uri="{FF2B5EF4-FFF2-40B4-BE49-F238E27FC236}">
                <a16:creationId xmlns:a16="http://schemas.microsoft.com/office/drawing/2014/main" id="{37FC6B2D-AA83-2BC4-1ABB-C3947966E29B}"/>
              </a:ext>
            </a:extLst>
          </p:cNvPr>
          <p:cNvPicPr>
            <a:picLocks noChangeAspect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290945" y="314036"/>
            <a:ext cx="914400" cy="914400"/>
          </a:xfrm>
          <a:prstGeom prst="rect">
            <a:avLst/>
          </a:prstGeom>
        </p:spPr>
      </p:pic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15DFC711-EF3F-3B8A-97C2-5E9EBDD66D19}"/>
              </a:ext>
            </a:extLst>
          </p:cNvPr>
          <p:cNvCxnSpPr/>
          <p:nvPr userDrawn="1"/>
        </p:nvCxnSpPr>
        <p:spPr>
          <a:xfrm>
            <a:off x="1385455" y="249382"/>
            <a:ext cx="0" cy="979054"/>
          </a:xfrm>
          <a:prstGeom prst="line">
            <a:avLst/>
          </a:prstGeom>
          <a:ln w="762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13" descr="A picture containing kiwi&#10;&#10;Description automatically generated">
            <a:extLst>
              <a:ext uri="{FF2B5EF4-FFF2-40B4-BE49-F238E27FC236}">
                <a16:creationId xmlns:a16="http://schemas.microsoft.com/office/drawing/2014/main" id="{60FABC7D-4523-8993-D4A2-E77BE6F5862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2913"/>
          <a:stretch/>
        </p:blipFill>
        <p:spPr>
          <a:xfrm>
            <a:off x="11575619" y="0"/>
            <a:ext cx="616381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31883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4" r:id="rId1"/>
    <p:sldLayoutId id="2147483815" r:id="rId2"/>
    <p:sldLayoutId id="2147483816" r:id="rId3"/>
    <p:sldLayoutId id="2147483817" r:id="rId4"/>
    <p:sldLayoutId id="2147483818" r:id="rId5"/>
    <p:sldLayoutId id="2147483819" r:id="rId6"/>
    <p:sldLayoutId id="2147483820" r:id="rId7"/>
    <p:sldLayoutId id="2147483821" r:id="rId8"/>
    <p:sldLayoutId id="2147483822" r:id="rId9"/>
    <p:sldLayoutId id="2147483823" r:id="rId10"/>
    <p:sldLayoutId id="2147483824" r:id="rId11"/>
    <p:sldLayoutId id="2147483825" r:id="rId12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Relationship Id="rId5" Type="http://schemas.openxmlformats.org/officeDocument/2006/relationships/image" Target="../media/image39.png"/><Relationship Id="rId4" Type="http://schemas.microsoft.com/office/2014/relationships/chartEx" Target="../charts/chartEx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jpeg"/><Relationship Id="rId2" Type="http://schemas.openxmlformats.org/officeDocument/2006/relationships/hyperlink" Target="https://www.youtube.com/watch?v=8aCq9pI-B7o" TargetMode="Externa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1.png"/><Relationship Id="rId5" Type="http://schemas.openxmlformats.org/officeDocument/2006/relationships/image" Target="../media/image40.jpeg"/><Relationship Id="rId4" Type="http://schemas.openxmlformats.org/officeDocument/2006/relationships/image" Target="../media/image39.jpe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13" Type="http://schemas.openxmlformats.org/officeDocument/2006/relationships/image" Target="../media/image13.png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12" Type="http://schemas.openxmlformats.org/officeDocument/2006/relationships/image" Target="../media/image12.sv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.xml"/><Relationship Id="rId11" Type="http://schemas.openxmlformats.org/officeDocument/2006/relationships/image" Target="../media/image11.png"/><Relationship Id="rId5" Type="http://schemas.openxmlformats.org/officeDocument/2006/relationships/diagramQuickStyle" Target="../diagrams/quickStyle1.xml"/><Relationship Id="rId15" Type="http://schemas.openxmlformats.org/officeDocument/2006/relationships/image" Target="../media/image14.png"/><Relationship Id="rId10" Type="http://schemas.openxmlformats.org/officeDocument/2006/relationships/image" Target="../media/image10.png"/><Relationship Id="rId4" Type="http://schemas.openxmlformats.org/officeDocument/2006/relationships/diagramLayout" Target="../diagrams/layout1.xml"/><Relationship Id="rId9" Type="http://schemas.openxmlformats.org/officeDocument/2006/relationships/image" Target="../media/image9.png"/><Relationship Id="rId14" Type="http://schemas.microsoft.com/office/2007/relationships/hdphoto" Target="../media/hdphoto1.wdp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image" Target="../media/image16.png"/><Relationship Id="rId7" Type="http://schemas.openxmlformats.org/officeDocument/2006/relationships/image" Target="../media/image20.png"/><Relationship Id="rId12" Type="http://schemas.openxmlformats.org/officeDocument/2006/relationships/image" Target="../media/image25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9.svg"/><Relationship Id="rId11" Type="http://schemas.openxmlformats.org/officeDocument/2006/relationships/image" Target="../media/image24.png"/><Relationship Id="rId5" Type="http://schemas.openxmlformats.org/officeDocument/2006/relationships/image" Target="../media/image18.png"/><Relationship Id="rId10" Type="http://schemas.openxmlformats.org/officeDocument/2006/relationships/image" Target="../media/image23.png"/><Relationship Id="rId4" Type="http://schemas.openxmlformats.org/officeDocument/2006/relationships/image" Target="../media/image17.png"/><Relationship Id="rId9" Type="http://schemas.openxmlformats.org/officeDocument/2006/relationships/image" Target="../media/image22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sv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9.png"/><Relationship Id="rId4" Type="http://schemas.openxmlformats.org/officeDocument/2006/relationships/image" Target="../media/image28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png"/><Relationship Id="rId13" Type="http://schemas.openxmlformats.org/officeDocument/2006/relationships/hyperlink" Target="https://ee.humanitarianresponse.info/x/OTlFw3lg" TargetMode="External"/><Relationship Id="rId3" Type="http://schemas.openxmlformats.org/officeDocument/2006/relationships/image" Target="../media/image31.png"/><Relationship Id="rId7" Type="http://schemas.openxmlformats.org/officeDocument/2006/relationships/image" Target="../media/image35.png"/><Relationship Id="rId12" Type="http://schemas.openxmlformats.org/officeDocument/2006/relationships/hyperlink" Target="https://ee.humanitarianresponse.info/x/1onodePS" TargetMode="External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4.png"/><Relationship Id="rId11" Type="http://schemas.openxmlformats.org/officeDocument/2006/relationships/hyperlink" Target="https://ee.humanitarianresponse.info/x/2OHy7ger" TargetMode="External"/><Relationship Id="rId5" Type="http://schemas.openxmlformats.org/officeDocument/2006/relationships/image" Target="../media/image33.png"/><Relationship Id="rId15" Type="http://schemas.openxmlformats.org/officeDocument/2006/relationships/hyperlink" Target="https://ee.humanitarianresponse.info/x/GzWWvVm3" TargetMode="External"/><Relationship Id="rId10" Type="http://schemas.openxmlformats.org/officeDocument/2006/relationships/hyperlink" Target="https://ee.humanitarianresponse.info/x/18drfVye" TargetMode="External"/><Relationship Id="rId4" Type="http://schemas.openxmlformats.org/officeDocument/2006/relationships/image" Target="../media/image32.png"/><Relationship Id="rId9" Type="http://schemas.openxmlformats.org/officeDocument/2006/relationships/hyperlink" Target="https://ee.humanitarianresponse.info/x/B9as9t2Z" TargetMode="External"/><Relationship Id="rId14" Type="http://schemas.openxmlformats.org/officeDocument/2006/relationships/hyperlink" Target="https://ee.humanitarianresponse.info/x/VGTb4rWl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Title 38">
            <a:extLst>
              <a:ext uri="{FF2B5EF4-FFF2-40B4-BE49-F238E27FC236}">
                <a16:creationId xmlns:a16="http://schemas.microsoft.com/office/drawing/2014/main" id="{BC895616-84B8-4E28-E1A6-4D9516B7337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30926" y="1041400"/>
            <a:ext cx="7289074" cy="2387600"/>
          </a:xfrm>
        </p:spPr>
        <p:txBody>
          <a:bodyPr/>
          <a:lstStyle/>
          <a:p>
            <a:pPr algn="ctr">
              <a:lnSpc>
                <a:spcPct val="150000"/>
              </a:lnSpc>
            </a:pPr>
            <a:r>
              <a:rPr lang="km-KH" sz="2800" dirty="0">
                <a:solidFill>
                  <a:srgbClr val="002060"/>
                </a:solidFill>
              </a:rPr>
              <a:t>ការអនុវត្តន៍ការតាមដានដែលដឹកនាំដោយសហគមន៍នៃកម្មវិធីអេដស៍</a:t>
            </a:r>
            <a:br>
              <a:rPr lang="en-US" sz="2800" b="1" dirty="0">
                <a:solidFill>
                  <a:srgbClr val="002060"/>
                </a:solidFill>
              </a:rPr>
            </a:br>
            <a:r>
              <a:rPr lang="en-US" sz="2400" b="1" dirty="0">
                <a:solidFill>
                  <a:srgbClr val="002060"/>
                </a:solidFill>
              </a:rPr>
              <a:t>Community-Led Monitoring (</a:t>
            </a:r>
            <a:r>
              <a:rPr lang="en-US" sz="2400" b="1" dirty="0" err="1">
                <a:solidFill>
                  <a:srgbClr val="002060"/>
                </a:solidFill>
              </a:rPr>
              <a:t>CLM</a:t>
            </a:r>
            <a:r>
              <a:rPr lang="en-US" sz="2400" b="1" dirty="0">
                <a:solidFill>
                  <a:srgbClr val="002060"/>
                </a:solidFill>
              </a:rPr>
              <a:t>)</a:t>
            </a:r>
            <a:r>
              <a:rPr lang="km-KH" sz="2400" b="1" dirty="0">
                <a:solidFill>
                  <a:srgbClr val="002060"/>
                </a:solidFill>
              </a:rPr>
              <a:t> </a:t>
            </a:r>
            <a:r>
              <a:rPr lang="en-US" sz="2400" b="1" dirty="0">
                <a:solidFill>
                  <a:srgbClr val="002060"/>
                </a:solidFill>
              </a:rPr>
              <a:t>on HIV Program Response</a:t>
            </a:r>
            <a:endParaRPr lang="km-KH" sz="3200" b="1" dirty="0">
              <a:solidFill>
                <a:srgbClr val="002060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8472A74C-BD74-22F0-0C10-058496E4791E}"/>
              </a:ext>
            </a:extLst>
          </p:cNvPr>
          <p:cNvSpPr txBox="1"/>
          <p:nvPr/>
        </p:nvSpPr>
        <p:spPr>
          <a:xfrm>
            <a:off x="469557" y="4935244"/>
            <a:ext cx="6766644" cy="130420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algn="ctr">
              <a:lnSpc>
                <a:spcPct val="150000"/>
              </a:lnSpc>
            </a:pPr>
            <a:r>
              <a:rPr lang="km-KH" cap="small" dirty="0">
                <a:solidFill>
                  <a:srgbClr val="0070C0"/>
                </a:solidFill>
                <a:effectLst/>
                <a:latin typeface="Khmer OS Content" panose="02000500000000020004" pitchFamily="2" charset="0"/>
                <a:ea typeface="Malgun Gothic" panose="020B0503020000020004" pitchFamily="34" charset="-127"/>
                <a:cs typeface="Khmer OS Content" panose="02000500000000020004" pitchFamily="2" charset="0"/>
              </a:rPr>
              <a:t>កិច្ចប្រជុំពិភាក្សាថ្នាក់ជាតិស្តីអំពី</a:t>
            </a:r>
            <a:endParaRPr lang="en-US" dirty="0">
              <a:effectLst/>
              <a:latin typeface="Khmer OS Content" panose="02000500000000020004" pitchFamily="2" charset="0"/>
              <a:ea typeface="Times New Roman" panose="02020603050405020304" pitchFamily="18" charset="0"/>
              <a:cs typeface="Khmer OS Content" panose="02000500000000020004" pitchFamily="2" charset="0"/>
            </a:endParaRPr>
          </a:p>
          <a:p>
            <a:pPr algn="ctr">
              <a:lnSpc>
                <a:spcPct val="150000"/>
              </a:lnSpc>
            </a:pPr>
            <a:r>
              <a:rPr lang="km-KH" cap="small" dirty="0">
                <a:solidFill>
                  <a:srgbClr val="0070C0"/>
                </a:solidFill>
                <a:effectLst/>
                <a:latin typeface="Khmer OS Content" panose="02000500000000020004" pitchFamily="2" charset="0"/>
                <a:ea typeface="Malgun Gothic" panose="020B0503020000020004" pitchFamily="34" charset="-127"/>
                <a:cs typeface="Khmer OS Content" panose="02000500000000020004" pitchFamily="2" charset="0"/>
              </a:rPr>
              <a:t>ការទទួលបាននូវកិច្ចគាំពារសង្គមសម្រាប់អ្នករស់នៅជាមួយមេរោគអេដស៍ និងប្រជាជនប្រឈមនឹងការឆ្លងមេរោគអេដស៍</a:t>
            </a:r>
            <a:endParaRPr lang="en-US" dirty="0">
              <a:solidFill>
                <a:srgbClr val="041F49"/>
              </a:solidFill>
              <a:latin typeface="Khmer OS Content" panose="02000500000000020004" pitchFamily="2" charset="0"/>
              <a:cs typeface="Khmer OS Content" panose="02000500000000020004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6774236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A4308442-D921-51A2-294D-5E7D749CBFE0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5475" t="1982" r="17601" b="14594"/>
          <a:stretch/>
        </p:blipFill>
        <p:spPr>
          <a:xfrm>
            <a:off x="185352" y="1913809"/>
            <a:ext cx="5428735" cy="3311611"/>
          </a:xfrm>
          <a:prstGeom prst="rect">
            <a:avLst/>
          </a:prstGeom>
          <a:effectLst>
            <a:glow rad="139700">
              <a:schemeClr val="accent6">
                <a:satMod val="175000"/>
                <a:alpha val="40000"/>
              </a:schemeClr>
            </a:glow>
          </a:effec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6D224B2-DF9D-9DFE-3AFA-08848C4C80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m-KH" sz="3600" b="1">
                <a:solidFill>
                  <a:srgbClr val="002060"/>
                </a:solidFill>
              </a:rPr>
              <a:t>ខេត្តដែលបានអនុវត្ត </a:t>
            </a:r>
            <a:r>
              <a:rPr lang="en-US" sz="3600" b="1">
                <a:solidFill>
                  <a:srgbClr val="002060"/>
                </a:solidFill>
              </a:rPr>
              <a:t>CLM</a:t>
            </a:r>
            <a:endParaRPr lang="en-US" dirty="0"/>
          </a:p>
        </p:txBody>
      </p:sp>
      <mc:AlternateContent xmlns:mc="http://schemas.openxmlformats.org/markup-compatibility/2006" xmlns:cx4="http://schemas.microsoft.com/office/drawing/2016/5/10/chartex">
        <mc:Choice Requires="cx4">
          <p:graphicFrame>
            <p:nvGraphicFramePr>
              <p:cNvPr id="6" name="Chart 5">
                <a:extLst>
                  <a:ext uri="{FF2B5EF4-FFF2-40B4-BE49-F238E27FC236}">
                    <a16:creationId xmlns:a16="http://schemas.microsoft.com/office/drawing/2014/main" id="{C4D4397D-DB8A-86DD-C2FE-47CDFE23DA3D}"/>
                  </a:ext>
                </a:extLst>
              </p:cNvPr>
              <p:cNvGraphicFramePr/>
              <p:nvPr>
                <p:custDataLst>
                  <p:tags r:id="rId1"/>
                </p:custDataLst>
                <p:extLst>
                  <p:ext uri="{D42A27DB-BD31-4B8C-83A1-F6EECF244321}">
                    <p14:modId xmlns:p14="http://schemas.microsoft.com/office/powerpoint/2010/main" val="3360203914"/>
                  </p:ext>
                </p:extLst>
              </p:nvPr>
            </p:nvGraphicFramePr>
            <p:xfrm>
              <a:off x="3418703" y="988540"/>
              <a:ext cx="10435280" cy="5487001"/>
            </p:xfrm>
            <a:graphic>
              <a:graphicData uri="http://schemas.microsoft.com/office/drawing/2014/chartex">
                <cx:chart xmlns:cx="http://schemas.microsoft.com/office/drawing/2014/chartex" xmlns:r="http://schemas.openxmlformats.org/officeDocument/2006/relationships" r:id="rId4"/>
              </a:graphicData>
            </a:graphic>
          </p:graphicFrame>
        </mc:Choice>
        <mc:Fallback xmlns="">
          <p:pic>
            <p:nvPicPr>
              <p:cNvPr id="6" name="Chart 5">
                <a:extLst>
                  <a:ext uri="{FF2B5EF4-FFF2-40B4-BE49-F238E27FC236}">
                    <a16:creationId xmlns:a16="http://schemas.microsoft.com/office/drawing/2014/main" id="{C4D4397D-DB8A-86DD-C2FE-47CDFE23DA3D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3418703" y="988540"/>
                <a:ext cx="10435280" cy="5487001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172595053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D9C9DDBF-5567-FA79-0933-D516CBEFFCDF}"/>
              </a:ext>
            </a:extLst>
          </p:cNvPr>
          <p:cNvSpPr txBox="1">
            <a:spLocks/>
          </p:cNvSpPr>
          <p:nvPr/>
        </p:nvSpPr>
        <p:spPr>
          <a:xfrm>
            <a:off x="345440" y="1219200"/>
            <a:ext cx="5707099" cy="5082746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12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Khmer OS Siemreap" panose="02000500000000020004" pitchFamily="2" charset="0"/>
                <a:ea typeface="+mn-ea"/>
                <a:cs typeface="Khmer OS Siemreap" panose="02000500000000020004" pitchFamily="2" charset="0"/>
              </a:defRPr>
            </a:lvl1pPr>
            <a:lvl2pPr marL="6858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Khmer OS Siemreap" panose="02000500000000020004" pitchFamily="2" charset="0"/>
                <a:ea typeface="+mn-ea"/>
                <a:cs typeface="Khmer OS Siemreap" panose="02000500000000020004" pitchFamily="2" charset="0"/>
              </a:defRPr>
            </a:lvl2pPr>
            <a:lvl3pPr marL="11430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Khmer OS Siemreap" panose="02000500000000020004" pitchFamily="2" charset="0"/>
                <a:ea typeface="+mn-ea"/>
                <a:cs typeface="Khmer OS Siemreap" panose="02000500000000020004" pitchFamily="2" charset="0"/>
              </a:defRPr>
            </a:lvl3pPr>
            <a:lvl4pPr marL="16002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Khmer OS Siemreap" panose="02000500000000020004" pitchFamily="2" charset="0"/>
                <a:ea typeface="+mn-ea"/>
                <a:cs typeface="Khmer OS Siemreap" panose="02000500000000020004" pitchFamily="2" charset="0"/>
              </a:defRPr>
            </a:lvl4pPr>
            <a:lvl5pPr marL="20574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Khmer OS Siemreap" panose="02000500000000020004" pitchFamily="2" charset="0"/>
                <a:ea typeface="+mn-ea"/>
                <a:cs typeface="Khmer OS Siemreap" panose="02000500000000020004" pitchFamily="2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None/>
            </a:pPr>
            <a:r>
              <a:rPr lang="km-KH" sz="2400" dirty="0">
                <a:ea typeface="Calibri" panose="020F0502020204030204" pitchFamily="34" charset="0"/>
                <a:cs typeface="Khmer OS Content" panose="02000500000000020004" pitchFamily="2" charset="0"/>
              </a:rPr>
              <a:t>ឯកសារសំខាន់ចំនួនបី (០៣) ត្រូវបានផលិត និងសម្ពោធដាក់</a:t>
            </a:r>
            <a:r>
              <a:rPr lang="km-KH" sz="2400" dirty="0">
                <a:effectLst/>
                <a:ea typeface="Calibri" panose="020F0502020204030204" pitchFamily="34" charset="0"/>
                <a:cs typeface="Khmer OS Content" panose="02000500000000020004" pitchFamily="2" charset="0"/>
              </a:rPr>
              <a:t>ឲ្យប្រើប្រាស់ជាផ្លូវការ</a:t>
            </a:r>
          </a:p>
          <a:p>
            <a:pPr marL="800100" lvl="1" indent="-342900">
              <a:lnSpc>
                <a:spcPct val="150000"/>
              </a:lnSpc>
              <a:buAutoNum type="arabicPeriod"/>
            </a:pPr>
            <a:r>
              <a:rPr lang="km-KH" sz="2000" dirty="0">
                <a:effectLst/>
                <a:ea typeface="Calibri" panose="020F0502020204030204" pitchFamily="34" charset="0"/>
                <a:cs typeface="Khmer OS Content" panose="02000500000000020004" pitchFamily="2" charset="0"/>
              </a:rPr>
              <a:t>ផែនការយុទ្ធសាស្ត្រនៃការចួលរួមរបស់សហគមន៍ </a:t>
            </a:r>
          </a:p>
          <a:p>
            <a:pPr marL="800100" lvl="1" indent="-342900">
              <a:lnSpc>
                <a:spcPct val="150000"/>
              </a:lnSpc>
              <a:buAutoNum type="arabicPeriod"/>
            </a:pPr>
            <a:r>
              <a:rPr lang="km-KH" sz="2000" dirty="0">
                <a:effectLst/>
                <a:ea typeface="Calibri" panose="020F0502020204030204" pitchFamily="34" charset="0"/>
                <a:cs typeface="Khmer OS Content" panose="02000500000000020004" pitchFamily="2" charset="0"/>
              </a:rPr>
              <a:t>គោលការណែនាំ ការអនុវត្តការតាមដានដែលដឹកនាំដោយសហគមន៍ </a:t>
            </a:r>
            <a:r>
              <a:rPr lang="en-US" sz="2000" dirty="0">
                <a:effectLst/>
                <a:latin typeface="Khmer OS Content" panose="02000500000000020004" pitchFamily="2" charset="0"/>
                <a:ea typeface="Calibri" panose="020F0502020204030204" pitchFamily="34" charset="0"/>
              </a:rPr>
              <a:t>(</a:t>
            </a:r>
            <a:r>
              <a:rPr lang="en-US" sz="2000" dirty="0" err="1">
                <a:effectLst/>
                <a:latin typeface="Khmer OS Content" panose="02000500000000020004" pitchFamily="2" charset="0"/>
                <a:ea typeface="Calibri" panose="020F0502020204030204" pitchFamily="34" charset="0"/>
              </a:rPr>
              <a:t>CLM</a:t>
            </a:r>
            <a:r>
              <a:rPr lang="en-US" sz="2000" dirty="0">
                <a:effectLst/>
                <a:latin typeface="Khmer OS Content" panose="02000500000000020004" pitchFamily="2" charset="0"/>
                <a:ea typeface="Calibri" panose="020F0502020204030204" pitchFamily="34" charset="0"/>
              </a:rPr>
              <a:t>)</a:t>
            </a:r>
            <a:endParaRPr lang="km-KH" sz="2000" dirty="0">
              <a:effectLst/>
              <a:ea typeface="Calibri" panose="020F0502020204030204" pitchFamily="34" charset="0"/>
              <a:cs typeface="Khmer OS Content" panose="02000500000000020004" pitchFamily="2" charset="0"/>
            </a:endParaRPr>
          </a:p>
          <a:p>
            <a:pPr marL="800100" lvl="1" indent="-342900">
              <a:lnSpc>
                <a:spcPct val="150000"/>
              </a:lnSpc>
              <a:buAutoNum type="arabicPeriod"/>
            </a:pPr>
            <a:r>
              <a:rPr lang="km-KH" sz="2000" dirty="0">
                <a:effectLst/>
                <a:ea typeface="Calibri" panose="020F0502020204030204" pitchFamily="34" charset="0"/>
                <a:cs typeface="Khmer OS Content" panose="02000500000000020004" pitchFamily="2" charset="0"/>
              </a:rPr>
              <a:t>ផែនទីចង្អុលផ្លូវលើការអនុវត្តការតាមដានដែលដឹកនាំដោយសហគមន៍ </a:t>
            </a:r>
            <a:r>
              <a:rPr lang="en-US" sz="2000" dirty="0">
                <a:effectLst/>
                <a:latin typeface="Khmer OS Content" panose="02000500000000020004" pitchFamily="2" charset="0"/>
                <a:ea typeface="Calibri" panose="020F0502020204030204" pitchFamily="34" charset="0"/>
              </a:rPr>
              <a:t>(</a:t>
            </a:r>
            <a:r>
              <a:rPr lang="en-US" sz="2000" dirty="0" err="1">
                <a:effectLst/>
                <a:latin typeface="Khmer OS Content" panose="02000500000000020004" pitchFamily="2" charset="0"/>
                <a:ea typeface="Calibri" panose="020F0502020204030204" pitchFamily="34" charset="0"/>
              </a:rPr>
              <a:t>CLM</a:t>
            </a:r>
            <a:r>
              <a:rPr lang="en-US" sz="2000" dirty="0">
                <a:effectLst/>
                <a:latin typeface="Khmer OS Content" panose="02000500000000020004" pitchFamily="2" charset="0"/>
                <a:ea typeface="Calibri" panose="020F0502020204030204" pitchFamily="34" charset="0"/>
              </a:rPr>
              <a:t>)</a:t>
            </a:r>
          </a:p>
          <a:p>
            <a:pPr marL="457200" lvl="1" indent="0">
              <a:lnSpc>
                <a:spcPct val="150000"/>
              </a:lnSpc>
              <a:buNone/>
            </a:pPr>
            <a:r>
              <a:rPr lang="en-US" sz="2000" dirty="0">
                <a:effectLst/>
                <a:latin typeface="Khmer OS Content" panose="02000500000000020004" pitchFamily="2" charset="0"/>
                <a:ea typeface="Calibri" panose="020F0502020204030204" pitchFamily="34" charset="0"/>
                <a:hlinkClick r:id="rId2"/>
              </a:rPr>
              <a:t>https://www.youtube.com/watch?v=8aCq9pI-B7o</a:t>
            </a:r>
            <a:endParaRPr lang="en-US" sz="2000" dirty="0">
              <a:effectLst/>
              <a:latin typeface="Khmer OS Content" panose="02000500000000020004" pitchFamily="2" charset="0"/>
              <a:ea typeface="Calibri" panose="020F0502020204030204" pitchFamily="34" charset="0"/>
            </a:endParaRPr>
          </a:p>
          <a:p>
            <a:pPr marL="457200" lvl="1" indent="0">
              <a:lnSpc>
                <a:spcPct val="150000"/>
              </a:lnSpc>
              <a:buNone/>
            </a:pPr>
            <a:endParaRPr lang="en-US" sz="2000" dirty="0">
              <a:effectLst/>
              <a:latin typeface="Khmer OS Content" panose="02000500000000020004" pitchFamily="2" charset="0"/>
              <a:ea typeface="Calibri" panose="020F0502020204030204" pitchFamily="34" charset="0"/>
            </a:endParaRPr>
          </a:p>
          <a:p>
            <a:pPr marL="0" indent="0">
              <a:lnSpc>
                <a:spcPct val="100000"/>
              </a:lnSpc>
              <a:buNone/>
            </a:pPr>
            <a:endParaRPr lang="en-US" sz="2200" i="1" dirty="0">
              <a:highlight>
                <a:srgbClr val="FFFF00"/>
              </a:highlight>
              <a:latin typeface="Daytona Condensed" panose="020B0506030503040204" pitchFamily="34" charset="0"/>
              <a:cs typeface="+mn-cs"/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B3AD1913-DA69-A7D9-A20A-F98C2D193440}"/>
              </a:ext>
            </a:extLst>
          </p:cNvPr>
          <p:cNvSpPr txBox="1">
            <a:spLocks/>
          </p:cNvSpPr>
          <p:nvPr/>
        </p:nvSpPr>
        <p:spPr>
          <a:xfrm>
            <a:off x="1445741" y="273281"/>
            <a:ext cx="8946291" cy="900256"/>
          </a:xfrm>
          <a:prstGeom prst="rect">
            <a:avLst/>
          </a:prstGeom>
        </p:spPr>
        <p:txBody>
          <a:bodyPr spcFirstLastPara="1" wrap="square" lIns="91425" tIns="91425" rIns="91425" bIns="91425" anchor="t" anchorCtr="0"/>
          <a:lstStyle>
            <a:lvl1pPr lvl="0" algn="l" defTabSz="914400" rtl="0" eaLnBrk="1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NiDA OdorMeanChey" panose="02000500000000000000" pitchFamily="2" charset="0"/>
                <a:ea typeface="+mj-ea"/>
                <a:cs typeface="NiDA OdorMeanChey" panose="02000500000000000000" pitchFamily="2" charset="0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9pPr>
          </a:lstStyle>
          <a:p>
            <a:r>
              <a:rPr lang="km-KH" sz="2800" dirty="0">
                <a:solidFill>
                  <a:srgbClr val="002060"/>
                </a:solidFill>
                <a:latin typeface="Khmer OS Content" panose="02000500000000020004" pitchFamily="2" charset="0"/>
                <a:cs typeface="Khmer OS Content" panose="02000500000000020004" pitchFamily="2" charset="0"/>
              </a:rPr>
              <a:t>ឯកសារគោលការណ៍អនុវត្ត </a:t>
            </a:r>
            <a:r>
              <a:rPr lang="en-US" sz="2800" dirty="0" err="1">
                <a:solidFill>
                  <a:srgbClr val="002060"/>
                </a:solidFill>
                <a:latin typeface="Khmer OS Content" panose="02000500000000020004" pitchFamily="2" charset="0"/>
                <a:cs typeface="Khmer OS Content" panose="02000500000000020004" pitchFamily="2" charset="0"/>
              </a:rPr>
              <a:t>CLM</a:t>
            </a:r>
            <a:endParaRPr lang="en-US" sz="2800" dirty="0">
              <a:solidFill>
                <a:srgbClr val="002060"/>
              </a:solidFill>
              <a:latin typeface="Khmer OS Content" panose="02000500000000020004" pitchFamily="2" charset="0"/>
              <a:cs typeface="Khmer OS Content" panose="02000500000000020004" pitchFamily="2" charset="0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29966087-DBAD-B580-E0E8-A701A8106760}"/>
              </a:ext>
            </a:extLst>
          </p:cNvPr>
          <p:cNvGrpSpPr/>
          <p:nvPr/>
        </p:nvGrpSpPr>
        <p:grpSpPr>
          <a:xfrm>
            <a:off x="6312460" y="3613172"/>
            <a:ext cx="4988981" cy="2576087"/>
            <a:chOff x="3596594" y="1281693"/>
            <a:chExt cx="8249965" cy="3909438"/>
          </a:xfrm>
        </p:grpSpPr>
        <p:pic>
          <p:nvPicPr>
            <p:cNvPr id="7" name="Picture 6" descr="Diagram, text&#10;&#10;Description automatically generated">
              <a:extLst>
                <a:ext uri="{FF2B5EF4-FFF2-40B4-BE49-F238E27FC236}">
                  <a16:creationId xmlns:a16="http://schemas.microsoft.com/office/drawing/2014/main" id="{65989AB9-A8FC-A939-D1A2-1E979256878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596594" y="1289691"/>
              <a:ext cx="2755392" cy="3901440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  <p:pic>
          <p:nvPicPr>
            <p:cNvPr id="8" name="Picture 7" descr="Text&#10;&#10;Description automatically generated">
              <a:extLst>
                <a:ext uri="{FF2B5EF4-FFF2-40B4-BE49-F238E27FC236}">
                  <a16:creationId xmlns:a16="http://schemas.microsoft.com/office/drawing/2014/main" id="{D479887C-D834-92B0-63B5-5E4C375410E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365193" y="1284611"/>
              <a:ext cx="2755392" cy="3901440"/>
            </a:xfrm>
            <a:prstGeom prst="rect">
              <a:avLst/>
            </a:prstGeom>
          </p:spPr>
        </p:pic>
        <p:pic>
          <p:nvPicPr>
            <p:cNvPr id="9" name="Picture 8" descr="A screenshot of a phone&#10;&#10;Description automatically generated with low confidence">
              <a:extLst>
                <a:ext uri="{FF2B5EF4-FFF2-40B4-BE49-F238E27FC236}">
                  <a16:creationId xmlns:a16="http://schemas.microsoft.com/office/drawing/2014/main" id="{0CE66487-584B-D910-D718-18779F76753D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091167" y="1281693"/>
              <a:ext cx="2755392" cy="3901440"/>
            </a:xfrm>
            <a:prstGeom prst="rect">
              <a:avLst/>
            </a:prstGeom>
          </p:spPr>
        </p:pic>
      </p:grpSp>
      <p:pic>
        <p:nvPicPr>
          <p:cNvPr id="10" name="Picture 9">
            <a:extLst>
              <a:ext uri="{FF2B5EF4-FFF2-40B4-BE49-F238E27FC236}">
                <a16:creationId xmlns:a16="http://schemas.microsoft.com/office/drawing/2014/main" id="{AC3ABE48-1E70-A3C1-582B-B27EDCABED0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312460" y="481743"/>
            <a:ext cx="4988981" cy="29472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000321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BCE8C2A-2989-7F7F-15B8-59665380E9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m-KH" dirty="0"/>
              <a:t>លទ្ធផលនៃ</a:t>
            </a:r>
            <a:r>
              <a:rPr lang="en-US" dirty="0" err="1"/>
              <a:t>CLM</a:t>
            </a:r>
            <a:r>
              <a:rPr lang="en-US" dirty="0"/>
              <a:t> </a:t>
            </a:r>
            <a:r>
              <a:rPr lang="km-KH" dirty="0"/>
              <a:t>ផ្នែកកិច្ចគាំពារសង្គម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CC3A59A-7F22-0881-7888-FFA78B45448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457200" lvl="1" indent="0">
              <a:buNone/>
            </a:pPr>
            <a:r>
              <a:rPr lang="en-US" dirty="0"/>
              <a:t>View </a:t>
            </a:r>
            <a:r>
              <a:rPr lang="en-US"/>
              <a:t>online Dashboard</a:t>
            </a:r>
          </a:p>
          <a:p>
            <a:pPr marL="457200" lvl="1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4465769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4AF81AC2-C576-8B7C-64E8-1E10C06A448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37309" y="984885"/>
            <a:ext cx="7086600" cy="1183957"/>
          </a:xfrm>
        </p:spPr>
        <p:txBody>
          <a:bodyPr/>
          <a:lstStyle/>
          <a:p>
            <a:r>
              <a:rPr lang="km-KH" sz="4800" spc="500" dirty="0">
                <a:latin typeface="Daytona Condensed" panose="020B0506030503040204" pitchFamily="34" charset="0"/>
              </a:rPr>
              <a:t>សូមអរគុណ</a:t>
            </a:r>
            <a:endParaRPr lang="en-US" spc="500" dirty="0">
              <a:latin typeface="Daytona Condensed" panose="020B0506030503040204" pitchFamily="34" charset="0"/>
            </a:endParaRPr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8EF90F1A-CB88-FD09-7922-284CC17209D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37309" y="4689158"/>
            <a:ext cx="5458691" cy="1655762"/>
          </a:xfrm>
        </p:spPr>
        <p:txBody>
          <a:bodyPr/>
          <a:lstStyle/>
          <a:p>
            <a:r>
              <a:rPr lang="km-KH" sz="20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សូមអរគុណចំពោះការគាំទ្ររបស់៖</a:t>
            </a:r>
            <a:endParaRPr lang="en-US" sz="2000" b="1" dirty="0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r>
              <a:rPr lang="en-US" sz="18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NAA, NCHADS-MOH, DFAT-UNAIDS, Frontline AIDS, HACC, EpiC FHI360, NGOs/CBOs and KP/PLHIV community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E4EC32C0-B274-4C87-ABC6-228A6BA6E545}"/>
              </a:ext>
            </a:extLst>
          </p:cNvPr>
          <p:cNvCxnSpPr/>
          <p:nvPr/>
        </p:nvCxnSpPr>
        <p:spPr>
          <a:xfrm>
            <a:off x="711200" y="4511040"/>
            <a:ext cx="2428240" cy="0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0414420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43">
            <a:extLst>
              <a:ext uri="{FF2B5EF4-FFF2-40B4-BE49-F238E27FC236}">
                <a16:creationId xmlns:a16="http://schemas.microsoft.com/office/drawing/2014/main" id="{484C49B7-587C-0BBF-3317-E60AC78E539F}"/>
              </a:ext>
            </a:extLst>
          </p:cNvPr>
          <p:cNvCxnSpPr>
            <a:cxnSpLocks/>
            <a:stCxn id="2" idx="3"/>
            <a:endCxn id="24" idx="3"/>
          </p:cNvCxnSpPr>
          <p:nvPr/>
        </p:nvCxnSpPr>
        <p:spPr>
          <a:xfrm>
            <a:off x="2758502" y="5130997"/>
            <a:ext cx="1149815" cy="108000"/>
          </a:xfrm>
          <a:prstGeom prst="line">
            <a:avLst/>
          </a:prstGeom>
          <a:ln w="12700">
            <a:solidFill>
              <a:srgbClr val="D9D9D9"/>
            </a:solidFill>
            <a:prstDash val="dash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Oval 18">
            <a:extLst>
              <a:ext uri="{FF2B5EF4-FFF2-40B4-BE49-F238E27FC236}">
                <a16:creationId xmlns:a16="http://schemas.microsoft.com/office/drawing/2014/main" id="{89D2A77A-6851-F570-67E1-905E06C6D4CE}"/>
              </a:ext>
            </a:extLst>
          </p:cNvPr>
          <p:cNvSpPr/>
          <p:nvPr/>
        </p:nvSpPr>
        <p:spPr>
          <a:xfrm>
            <a:off x="3656703" y="2573225"/>
            <a:ext cx="966850" cy="966849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5" name="Group 1">
            <a:extLst>
              <a:ext uri="{FF2B5EF4-FFF2-40B4-BE49-F238E27FC236}">
                <a16:creationId xmlns:a16="http://schemas.microsoft.com/office/drawing/2014/main" id="{CD83FD9E-FBEE-940B-E3C6-40FD40406991}"/>
              </a:ext>
            </a:extLst>
          </p:cNvPr>
          <p:cNvGrpSpPr/>
          <p:nvPr/>
        </p:nvGrpSpPr>
        <p:grpSpPr>
          <a:xfrm>
            <a:off x="4730306" y="1465375"/>
            <a:ext cx="2582349" cy="966849"/>
            <a:chOff x="3866681" y="1331960"/>
            <a:chExt cx="2836174" cy="1061884"/>
          </a:xfrm>
        </p:grpSpPr>
        <p:cxnSp>
          <p:nvCxnSpPr>
            <p:cNvPr id="6" name="Straight Connector 43">
              <a:extLst>
                <a:ext uri="{FF2B5EF4-FFF2-40B4-BE49-F238E27FC236}">
                  <a16:creationId xmlns:a16="http://schemas.microsoft.com/office/drawing/2014/main" id="{150ECD56-6C8D-984B-E74F-7ED0FDE76E0F}"/>
                </a:ext>
              </a:extLst>
            </p:cNvPr>
            <p:cNvCxnSpPr>
              <a:cxnSpLocks/>
            </p:cNvCxnSpPr>
            <p:nvPr/>
          </p:nvCxnSpPr>
          <p:spPr>
            <a:xfrm>
              <a:off x="4263087" y="1860754"/>
              <a:ext cx="2439768" cy="0"/>
            </a:xfrm>
            <a:prstGeom prst="line">
              <a:avLst/>
            </a:prstGeom>
            <a:ln w="12700">
              <a:solidFill>
                <a:srgbClr val="D9D9D9"/>
              </a:solidFill>
              <a:prstDash val="dash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" name="Oval 16">
              <a:extLst>
                <a:ext uri="{FF2B5EF4-FFF2-40B4-BE49-F238E27FC236}">
                  <a16:creationId xmlns:a16="http://schemas.microsoft.com/office/drawing/2014/main" id="{CDDACD35-D634-F568-B34F-5B999F234E84}"/>
                </a:ext>
              </a:extLst>
            </p:cNvPr>
            <p:cNvSpPr/>
            <p:nvPr/>
          </p:nvSpPr>
          <p:spPr>
            <a:xfrm>
              <a:off x="3866681" y="1331960"/>
              <a:ext cx="1061884" cy="1061884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pSp>
        <p:nvGrpSpPr>
          <p:cNvPr id="8" name="Group 3">
            <a:extLst>
              <a:ext uri="{FF2B5EF4-FFF2-40B4-BE49-F238E27FC236}">
                <a16:creationId xmlns:a16="http://schemas.microsoft.com/office/drawing/2014/main" id="{48023975-F5B5-E24F-673F-EF13C87DD6CF}"/>
              </a:ext>
            </a:extLst>
          </p:cNvPr>
          <p:cNvGrpSpPr/>
          <p:nvPr/>
        </p:nvGrpSpPr>
        <p:grpSpPr>
          <a:xfrm>
            <a:off x="4687097" y="3694326"/>
            <a:ext cx="3057018" cy="966849"/>
            <a:chOff x="3808764" y="3780004"/>
            <a:chExt cx="3357499" cy="1061884"/>
          </a:xfrm>
        </p:grpSpPr>
        <p:cxnSp>
          <p:nvCxnSpPr>
            <p:cNvPr id="9" name="Straight Connector 44">
              <a:extLst>
                <a:ext uri="{FF2B5EF4-FFF2-40B4-BE49-F238E27FC236}">
                  <a16:creationId xmlns:a16="http://schemas.microsoft.com/office/drawing/2014/main" id="{DE4C0631-8CAE-9DD6-44FB-355AA00BE237}"/>
                </a:ext>
              </a:extLst>
            </p:cNvPr>
            <p:cNvCxnSpPr>
              <a:cxnSpLocks/>
            </p:cNvCxnSpPr>
            <p:nvPr/>
          </p:nvCxnSpPr>
          <p:spPr>
            <a:xfrm>
              <a:off x="4726495" y="4406924"/>
              <a:ext cx="2439768" cy="0"/>
            </a:xfrm>
            <a:prstGeom prst="line">
              <a:avLst/>
            </a:prstGeom>
            <a:ln w="12700">
              <a:solidFill>
                <a:srgbClr val="D9D9D9"/>
              </a:solidFill>
              <a:prstDash val="dash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" name="Oval 19">
              <a:extLst>
                <a:ext uri="{FF2B5EF4-FFF2-40B4-BE49-F238E27FC236}">
                  <a16:creationId xmlns:a16="http://schemas.microsoft.com/office/drawing/2014/main" id="{4FF15074-55D8-1F97-59AD-1E68057F58D0}"/>
                </a:ext>
              </a:extLst>
            </p:cNvPr>
            <p:cNvSpPr/>
            <p:nvPr/>
          </p:nvSpPr>
          <p:spPr>
            <a:xfrm>
              <a:off x="3808764" y="3780004"/>
              <a:ext cx="1061884" cy="1061884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12" name="Oval 20">
            <a:extLst>
              <a:ext uri="{FF2B5EF4-FFF2-40B4-BE49-F238E27FC236}">
                <a16:creationId xmlns:a16="http://schemas.microsoft.com/office/drawing/2014/main" id="{0D5EC616-E45D-F624-1E94-55697B3C0DEE}"/>
              </a:ext>
            </a:extLst>
          </p:cNvPr>
          <p:cNvSpPr/>
          <p:nvPr/>
        </p:nvSpPr>
        <p:spPr>
          <a:xfrm>
            <a:off x="3618603" y="4771722"/>
            <a:ext cx="966850" cy="966849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13" name="Group 21">
            <a:extLst>
              <a:ext uri="{FF2B5EF4-FFF2-40B4-BE49-F238E27FC236}">
                <a16:creationId xmlns:a16="http://schemas.microsoft.com/office/drawing/2014/main" id="{11232060-FE87-480C-C193-21E3203C58B1}"/>
              </a:ext>
            </a:extLst>
          </p:cNvPr>
          <p:cNvGrpSpPr/>
          <p:nvPr/>
        </p:nvGrpSpPr>
        <p:grpSpPr>
          <a:xfrm>
            <a:off x="1238251" y="1044470"/>
            <a:ext cx="4927737" cy="5088915"/>
            <a:chOff x="1" y="869683"/>
            <a:chExt cx="5412095" cy="5589124"/>
          </a:xfrm>
          <a:solidFill>
            <a:srgbClr val="F2F2F2"/>
          </a:solidFill>
        </p:grpSpPr>
        <p:grpSp>
          <p:nvGrpSpPr>
            <p:cNvPr id="14" name="Group 15">
              <a:extLst>
                <a:ext uri="{FF2B5EF4-FFF2-40B4-BE49-F238E27FC236}">
                  <a16:creationId xmlns:a16="http://schemas.microsoft.com/office/drawing/2014/main" id="{78F06096-67D3-B604-AD83-F68C55323688}"/>
                </a:ext>
              </a:extLst>
            </p:cNvPr>
            <p:cNvGrpSpPr/>
            <p:nvPr/>
          </p:nvGrpSpPr>
          <p:grpSpPr>
            <a:xfrm>
              <a:off x="2167053" y="869683"/>
              <a:ext cx="3245043" cy="5589124"/>
              <a:chOff x="2167053" y="869683"/>
              <a:chExt cx="3245043" cy="5589124"/>
            </a:xfrm>
            <a:grpFill/>
          </p:grpSpPr>
          <p:sp>
            <p:nvSpPr>
              <p:cNvPr id="16" name="Block Arc 9">
                <a:extLst>
                  <a:ext uri="{FF2B5EF4-FFF2-40B4-BE49-F238E27FC236}">
                    <a16:creationId xmlns:a16="http://schemas.microsoft.com/office/drawing/2014/main" id="{9881ECD5-8125-18F4-F276-E4C2B5AD2737}"/>
                  </a:ext>
                </a:extLst>
              </p:cNvPr>
              <p:cNvSpPr/>
              <p:nvPr/>
            </p:nvSpPr>
            <p:spPr>
              <a:xfrm rot="13814570">
                <a:off x="2167053" y="4503399"/>
                <a:ext cx="1955408" cy="1955408"/>
              </a:xfrm>
              <a:prstGeom prst="blockArc">
                <a:avLst>
                  <a:gd name="adj1" fmla="val 5118103"/>
                  <a:gd name="adj2" fmla="val 5063959"/>
                  <a:gd name="adj3" fmla="val 14616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7" name="Block Arc 11">
                <a:extLst>
                  <a:ext uri="{FF2B5EF4-FFF2-40B4-BE49-F238E27FC236}">
                    <a16:creationId xmlns:a16="http://schemas.microsoft.com/office/drawing/2014/main" id="{C97F95FD-2AB2-BC3C-4D29-41C29FF11FF5}"/>
                  </a:ext>
                </a:extLst>
              </p:cNvPr>
              <p:cNvSpPr/>
              <p:nvPr/>
            </p:nvSpPr>
            <p:spPr>
              <a:xfrm rot="3274271">
                <a:off x="3349628" y="3327319"/>
                <a:ext cx="1955408" cy="1955408"/>
              </a:xfrm>
              <a:prstGeom prst="blockArc">
                <a:avLst>
                  <a:gd name="adj1" fmla="val 10259165"/>
                  <a:gd name="adj2" fmla="val 5063959"/>
                  <a:gd name="adj3" fmla="val 14616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8" name="Block Arc 13">
                <a:extLst>
                  <a:ext uri="{FF2B5EF4-FFF2-40B4-BE49-F238E27FC236}">
                    <a16:creationId xmlns:a16="http://schemas.microsoft.com/office/drawing/2014/main" id="{A0076078-EFF8-E5E5-8571-275190FD4F34}"/>
                  </a:ext>
                </a:extLst>
              </p:cNvPr>
              <p:cNvSpPr/>
              <p:nvPr/>
            </p:nvSpPr>
            <p:spPr>
              <a:xfrm rot="13500000">
                <a:off x="2220538" y="2099080"/>
                <a:ext cx="1955408" cy="1955408"/>
              </a:xfrm>
              <a:prstGeom prst="blockArc">
                <a:avLst>
                  <a:gd name="adj1" fmla="val 10800000"/>
                  <a:gd name="adj2" fmla="val 5063959"/>
                  <a:gd name="adj3" fmla="val 14616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9" name="Block Arc 14">
                <a:extLst>
                  <a:ext uri="{FF2B5EF4-FFF2-40B4-BE49-F238E27FC236}">
                    <a16:creationId xmlns:a16="http://schemas.microsoft.com/office/drawing/2014/main" id="{4C090845-6B23-E2C5-0EEF-7F0C668084B0}"/>
                  </a:ext>
                </a:extLst>
              </p:cNvPr>
              <p:cNvSpPr/>
              <p:nvPr/>
            </p:nvSpPr>
            <p:spPr>
              <a:xfrm rot="3507433">
                <a:off x="3383151" y="869683"/>
                <a:ext cx="2028945" cy="2028945"/>
              </a:xfrm>
              <a:prstGeom prst="blockArc">
                <a:avLst>
                  <a:gd name="adj1" fmla="val 10800000"/>
                  <a:gd name="adj2" fmla="val 5059950"/>
                  <a:gd name="adj3" fmla="val 14287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E5E7A6D7-03C3-1CAD-0B06-D0B886E95E58}"/>
                </a:ext>
              </a:extLst>
            </p:cNvPr>
            <p:cNvSpPr/>
            <p:nvPr/>
          </p:nvSpPr>
          <p:spPr>
            <a:xfrm>
              <a:off x="1" y="997313"/>
              <a:ext cx="4019550" cy="269512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20" name="Rectangle 19">
            <a:extLst>
              <a:ext uri="{FF2B5EF4-FFF2-40B4-BE49-F238E27FC236}">
                <a16:creationId xmlns:a16="http://schemas.microsoft.com/office/drawing/2014/main" id="{0CDF1B98-BE54-9E1B-2A89-0A7896D25D36}"/>
              </a:ext>
            </a:extLst>
          </p:cNvPr>
          <p:cNvSpPr/>
          <p:nvPr/>
        </p:nvSpPr>
        <p:spPr>
          <a:xfrm flipH="1">
            <a:off x="5035366" y="1574143"/>
            <a:ext cx="356729" cy="672556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ctr"/>
            <a:r>
              <a:rPr lang="en-US" sz="4400" b="1" dirty="0">
                <a:solidFill>
                  <a:schemeClr val="lt1"/>
                </a:solidFill>
              </a:rPr>
              <a:t>1</a:t>
            </a:r>
            <a:endParaRPr lang="en-US" sz="1600" b="1" dirty="0">
              <a:solidFill>
                <a:schemeClr val="lt1"/>
              </a:solidFill>
              <a:cs typeface="Arial" panose="020B0604020202020204" pitchFamily="34" charset="0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4D439A38-2C09-A0D1-5822-5BC94843A164}"/>
              </a:ext>
            </a:extLst>
          </p:cNvPr>
          <p:cNvSpPr/>
          <p:nvPr/>
        </p:nvSpPr>
        <p:spPr>
          <a:xfrm flipH="1">
            <a:off x="4974098" y="3812247"/>
            <a:ext cx="356729" cy="677108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ctr"/>
            <a:r>
              <a:rPr lang="en-US" sz="4400" b="1" dirty="0">
                <a:solidFill>
                  <a:schemeClr val="lt1"/>
                </a:solidFill>
                <a:cs typeface="Arial" panose="020B0604020202020204" pitchFamily="34" charset="0"/>
              </a:rPr>
              <a:t>2</a:t>
            </a:r>
            <a:endParaRPr lang="en-US" sz="1600" b="1" dirty="0">
              <a:solidFill>
                <a:schemeClr val="lt1"/>
              </a:solidFill>
              <a:cs typeface="Arial" panose="020B0604020202020204" pitchFamily="34" charset="0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09785D87-6F67-5AC1-322D-3FC4667E291D}"/>
              </a:ext>
            </a:extLst>
          </p:cNvPr>
          <p:cNvSpPr txBox="1"/>
          <p:nvPr/>
        </p:nvSpPr>
        <p:spPr>
          <a:xfrm>
            <a:off x="6867745" y="1804076"/>
            <a:ext cx="3690434" cy="369332"/>
          </a:xfrm>
          <a:prstGeom prst="rect">
            <a:avLst/>
          </a:prstGeom>
          <a:noFill/>
        </p:spPr>
        <p:txBody>
          <a:bodyPr wrap="none" rtlCol="0" anchor="b" anchorCtr="0">
            <a:spAutoFit/>
          </a:bodyPr>
          <a:lstStyle/>
          <a:p>
            <a:r>
              <a:rPr lang="km-KH" sz="1800" dirty="0">
                <a:solidFill>
                  <a:srgbClr val="0070C0"/>
                </a:solidFill>
                <a:latin typeface="Khmer OS Muol Light" panose="02000500000000020004" pitchFamily="2" charset="0"/>
                <a:cs typeface="Khmer OS Muol Light" panose="02000500000000020004" pitchFamily="2" charset="0"/>
              </a:rPr>
              <a:t>វេទិកាហ្វុនប៉ាម និងឌីហ្វុនប៉ាម</a:t>
            </a:r>
          </a:p>
        </p:txBody>
      </p:sp>
      <p:sp>
        <p:nvSpPr>
          <p:cNvPr id="29" name="Subtitle 2">
            <a:extLst>
              <a:ext uri="{FF2B5EF4-FFF2-40B4-BE49-F238E27FC236}">
                <a16:creationId xmlns:a16="http://schemas.microsoft.com/office/drawing/2014/main" id="{1967A1E8-04EC-A7FD-F264-4CEFDF40408C}"/>
              </a:ext>
            </a:extLst>
          </p:cNvPr>
          <p:cNvSpPr txBox="1">
            <a:spLocks/>
          </p:cNvSpPr>
          <p:nvPr/>
        </p:nvSpPr>
        <p:spPr>
          <a:xfrm>
            <a:off x="6867745" y="2222934"/>
            <a:ext cx="3472114" cy="614014"/>
          </a:xfrm>
          <a:prstGeom prst="rect">
            <a:avLst/>
          </a:prstGeom>
        </p:spPr>
        <p:txBody>
          <a:bodyPr vert="horz" wrap="square" lIns="45720" tIns="22860" rIns="45720" bIns="22860" rtlCol="0" anchor="t">
            <a:spAutoFit/>
          </a:bodyPr>
          <a:lstStyle>
            <a:defPPr>
              <a:defRPr lang="en-US"/>
            </a:defPPr>
            <a:lvl1pPr indent="0" defTabSz="1087636">
              <a:lnSpc>
                <a:spcPts val="1750"/>
              </a:lnSpc>
              <a:spcBef>
                <a:spcPct val="20000"/>
              </a:spcBef>
              <a:buFont typeface="Arial"/>
              <a:buNone/>
              <a:defRPr sz="1600">
                <a:latin typeface="Gill Sans MT" panose="020B0502020104020203" pitchFamily="34" charset="0"/>
                <a:ea typeface="Lato Light" panose="020F0502020204030203" pitchFamily="34" charset="0"/>
                <a:cs typeface="Mukta ExtraLight" panose="020B0000000000000000" pitchFamily="34" charset="77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>
              <a:lnSpc>
                <a:spcPct val="150000"/>
              </a:lnSpc>
            </a:pPr>
            <a:r>
              <a:rPr lang="km-KH" sz="1200" i="1" dirty="0">
                <a:solidFill>
                  <a:schemeClr val="accent2">
                    <a:lumMod val="75000"/>
                  </a:schemeClr>
                </a:solidFill>
                <a:latin typeface="Khmer OS Content" panose="02000500000000020004" pitchFamily="2" charset="0"/>
                <a:cs typeface="Khmer OS Content" panose="02000500000000020004" pitchFamily="2" charset="0"/>
              </a:rPr>
              <a:t>តើអ្វីជាវេទិការហ្វុនប៉ាម និងឌីហ្វុនប៉ាម?</a:t>
            </a:r>
          </a:p>
          <a:p>
            <a:pPr>
              <a:lnSpc>
                <a:spcPct val="150000"/>
              </a:lnSpc>
            </a:pPr>
            <a:r>
              <a:rPr lang="km-KH" sz="1200" i="1" dirty="0">
                <a:solidFill>
                  <a:schemeClr val="accent2">
                    <a:lumMod val="75000"/>
                  </a:schemeClr>
                </a:solidFill>
                <a:latin typeface="Khmer OS Content" panose="02000500000000020004" pitchFamily="2" charset="0"/>
                <a:cs typeface="Khmer OS Content" panose="02000500000000020004" pitchFamily="2" charset="0"/>
              </a:rPr>
              <a:t>តើសមាជិកវុនប៉ាម និងឌីហ្វុនប៉ាមមានតួនាទីអ្វីខ្លះ?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3AC837CD-6F27-97D0-A3BF-FD8B9D57DC9D}"/>
              </a:ext>
            </a:extLst>
          </p:cNvPr>
          <p:cNvSpPr txBox="1"/>
          <p:nvPr/>
        </p:nvSpPr>
        <p:spPr>
          <a:xfrm>
            <a:off x="6598502" y="4142680"/>
            <a:ext cx="4031873" cy="369332"/>
          </a:xfrm>
          <a:prstGeom prst="rect">
            <a:avLst/>
          </a:prstGeom>
          <a:noFill/>
        </p:spPr>
        <p:txBody>
          <a:bodyPr wrap="none" rtlCol="0" anchor="b" anchorCtr="0">
            <a:spAutoFit/>
          </a:bodyPr>
          <a:lstStyle/>
          <a:p>
            <a:r>
              <a:rPr lang="km-KH" dirty="0">
                <a:solidFill>
                  <a:schemeClr val="accent4">
                    <a:lumMod val="75000"/>
                  </a:schemeClr>
                </a:solidFill>
                <a:latin typeface="Khmer OS Muol Light" panose="02000500000000020004" pitchFamily="2" charset="0"/>
                <a:cs typeface="Khmer OS Muol Light" panose="02000500000000020004" pitchFamily="2" charset="0"/>
              </a:rPr>
              <a:t>អំពីដំណើរការនៃការអនុវត្តន៍ </a:t>
            </a:r>
            <a:r>
              <a:rPr lang="en-US" dirty="0">
                <a:solidFill>
                  <a:schemeClr val="accent4">
                    <a:lumMod val="75000"/>
                  </a:schemeClr>
                </a:solidFill>
                <a:latin typeface="Khmer OS Muol Light" panose="02000500000000020004" pitchFamily="2" charset="0"/>
                <a:cs typeface="Khmer OS Muol Light" panose="02000500000000020004" pitchFamily="2" charset="0"/>
              </a:rPr>
              <a:t>CLM</a:t>
            </a:r>
          </a:p>
        </p:txBody>
      </p:sp>
      <p:sp>
        <p:nvSpPr>
          <p:cNvPr id="31" name="Subtitle 2">
            <a:extLst>
              <a:ext uri="{FF2B5EF4-FFF2-40B4-BE49-F238E27FC236}">
                <a16:creationId xmlns:a16="http://schemas.microsoft.com/office/drawing/2014/main" id="{0AA98C1F-3005-B1D8-6623-30C49D8B7A92}"/>
              </a:ext>
            </a:extLst>
          </p:cNvPr>
          <p:cNvSpPr txBox="1">
            <a:spLocks/>
          </p:cNvSpPr>
          <p:nvPr/>
        </p:nvSpPr>
        <p:spPr>
          <a:xfrm>
            <a:off x="6598502" y="4561537"/>
            <a:ext cx="3472114" cy="577081"/>
          </a:xfrm>
          <a:prstGeom prst="rect">
            <a:avLst/>
          </a:prstGeom>
        </p:spPr>
        <p:txBody>
          <a:bodyPr vert="horz" wrap="square" lIns="45720" tIns="22860" rIns="45720" bIns="22860" rtlCol="0" anchor="t">
            <a:spAutoFit/>
          </a:bodyPr>
          <a:lstStyle>
            <a:defPPr>
              <a:defRPr lang="en-US"/>
            </a:defPPr>
            <a:lvl1pPr indent="0" defTabSz="1087636">
              <a:lnSpc>
                <a:spcPts val="1750"/>
              </a:lnSpc>
              <a:spcBef>
                <a:spcPct val="20000"/>
              </a:spcBef>
              <a:buFont typeface="Arial"/>
              <a:buNone/>
              <a:defRPr sz="1600">
                <a:latin typeface="Gill Sans MT" panose="020B0502020104020203" pitchFamily="34" charset="0"/>
                <a:ea typeface="Lato Light" panose="020F0502020204030203" pitchFamily="34" charset="0"/>
                <a:cs typeface="Mukta ExtraLight" panose="020B0000000000000000" pitchFamily="34" charset="77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>
              <a:lnSpc>
                <a:spcPct val="150000"/>
              </a:lnSpc>
            </a:pPr>
            <a:r>
              <a:rPr lang="km-KH" sz="1200" i="1" dirty="0">
                <a:solidFill>
                  <a:srgbClr val="0070C0"/>
                </a:solidFill>
                <a:latin typeface="Khmer OS Content" panose="02000500000000020004" pitchFamily="2" charset="0"/>
                <a:cs typeface="Khmer OS Content" panose="02000500000000020004" pitchFamily="2" charset="0"/>
              </a:rPr>
              <a:t>តើការរៀបចំដំណើរការ </a:t>
            </a:r>
            <a:r>
              <a:rPr lang="en-US" sz="1200" i="1" dirty="0">
                <a:solidFill>
                  <a:srgbClr val="0070C0"/>
                </a:solidFill>
                <a:latin typeface="Khmer OS Content" panose="02000500000000020004" pitchFamily="2" charset="0"/>
                <a:cs typeface="Khmer OS Content" panose="02000500000000020004" pitchFamily="2" charset="0"/>
              </a:rPr>
              <a:t>CLM </a:t>
            </a:r>
            <a:r>
              <a:rPr lang="km-KH" sz="1200" i="1" dirty="0">
                <a:solidFill>
                  <a:srgbClr val="0070C0"/>
                </a:solidFill>
                <a:latin typeface="Khmer OS Content" panose="02000500000000020004" pitchFamily="2" charset="0"/>
                <a:cs typeface="Khmer OS Content" panose="02000500000000020004" pitchFamily="2" charset="0"/>
              </a:rPr>
              <a:t>ត្រូវបានអនុវត្តន៍ឡើងយ៉ាងដូចម្ត៉េច?  តើ </a:t>
            </a:r>
            <a:r>
              <a:rPr lang="en-US" sz="1200" i="1" dirty="0">
                <a:solidFill>
                  <a:srgbClr val="0070C0"/>
                </a:solidFill>
                <a:latin typeface="Khmer OS Content" panose="02000500000000020004" pitchFamily="2" charset="0"/>
                <a:cs typeface="Khmer OS Content" panose="02000500000000020004" pitchFamily="2" charset="0"/>
              </a:rPr>
              <a:t>CLM </a:t>
            </a:r>
            <a:r>
              <a:rPr lang="km-KH" sz="1200" i="1" dirty="0">
                <a:solidFill>
                  <a:srgbClr val="0070C0"/>
                </a:solidFill>
                <a:latin typeface="Khmer OS Content" panose="02000500000000020004" pitchFamily="2" charset="0"/>
                <a:cs typeface="Khmer OS Content" panose="02000500000000020004" pitchFamily="2" charset="0"/>
              </a:rPr>
              <a:t>មានរចនាសម្ព័ន្ធយ៉ាងដូចម្ត៉េច?</a:t>
            </a:r>
            <a:endParaRPr lang="en-US" sz="1200" i="1" dirty="0">
              <a:solidFill>
                <a:srgbClr val="0070C0"/>
              </a:solidFill>
              <a:latin typeface="Khmer OS Content" panose="02000500000000020004" pitchFamily="2" charset="0"/>
              <a:cs typeface="Khmer OS Content" panose="02000500000000020004" pitchFamily="2" charset="0"/>
            </a:endParaRPr>
          </a:p>
        </p:txBody>
      </p:sp>
      <p:sp>
        <p:nvSpPr>
          <p:cNvPr id="32" name="Title 1">
            <a:extLst>
              <a:ext uri="{FF2B5EF4-FFF2-40B4-BE49-F238E27FC236}">
                <a16:creationId xmlns:a16="http://schemas.microsoft.com/office/drawing/2014/main" id="{8F4752AC-4D66-DC2B-3C6B-87DA7BE4912B}"/>
              </a:ext>
            </a:extLst>
          </p:cNvPr>
          <p:cNvSpPr txBox="1">
            <a:spLocks/>
          </p:cNvSpPr>
          <p:nvPr/>
        </p:nvSpPr>
        <p:spPr>
          <a:xfrm>
            <a:off x="1517088" y="367488"/>
            <a:ext cx="10515600" cy="759388"/>
          </a:xfrm>
          <a:prstGeom prst="rect">
            <a:avLst/>
          </a:prstGeom>
        </p:spPr>
        <p:txBody>
          <a:bodyPr anchor="ctr" anchorCtr="0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km-KH" sz="3600" dirty="0">
                <a:solidFill>
                  <a:schemeClr val="accent3">
                    <a:lumMod val="50000"/>
                  </a:schemeClr>
                </a:solidFill>
                <a:latin typeface="Khmer OS Muol Light" panose="02000500000000020004" pitchFamily="2" charset="0"/>
                <a:cs typeface="Khmer OS Muol Light" panose="02000500000000020004" pitchFamily="2" charset="0"/>
              </a:rPr>
              <a:t>មាតិកា</a:t>
            </a:r>
            <a:endParaRPr lang="en-US" sz="3600" dirty="0">
              <a:solidFill>
                <a:schemeClr val="accent3">
                  <a:lumMod val="50000"/>
                </a:schemeClr>
              </a:solidFill>
              <a:latin typeface="Khmer OS Muol Light" panose="02000500000000020004" pitchFamily="2" charset="0"/>
              <a:cs typeface="Khmer OS Muol Light" panose="02000500000000020004" pitchFamily="2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97F4695-CF8B-EB43-1122-787C02F07C44}"/>
              </a:ext>
            </a:extLst>
          </p:cNvPr>
          <p:cNvSpPr txBox="1"/>
          <p:nvPr/>
        </p:nvSpPr>
        <p:spPr>
          <a:xfrm>
            <a:off x="275675" y="4686644"/>
            <a:ext cx="2482827" cy="888705"/>
          </a:xfrm>
          <a:prstGeom prst="rect">
            <a:avLst/>
          </a:prstGeom>
          <a:noFill/>
        </p:spPr>
        <p:txBody>
          <a:bodyPr wrap="square" rtlCol="0" anchor="b" anchorCtr="0">
            <a:spAutoFit/>
          </a:bodyPr>
          <a:lstStyle/>
          <a:p>
            <a:pPr algn="r">
              <a:lnSpc>
                <a:spcPct val="150000"/>
              </a:lnSpc>
            </a:pPr>
            <a:r>
              <a:rPr lang="km-KH" dirty="0">
                <a:solidFill>
                  <a:srgbClr val="0070C0"/>
                </a:solidFill>
                <a:latin typeface="Khmer OS Muol Light" panose="02000500000000020004" pitchFamily="2" charset="0"/>
                <a:cs typeface="Khmer OS Muol Light" panose="02000500000000020004" pitchFamily="2" charset="0"/>
              </a:rPr>
              <a:t>លទ្ធផល </a:t>
            </a:r>
            <a:r>
              <a:rPr lang="en-US" sz="1800" dirty="0" err="1">
                <a:solidFill>
                  <a:srgbClr val="0070C0"/>
                </a:solidFill>
                <a:latin typeface="Khmer OS Muol Light" panose="02000500000000020004" pitchFamily="2" charset="0"/>
                <a:cs typeface="Khmer OS Muol Light" panose="02000500000000020004" pitchFamily="2" charset="0"/>
              </a:rPr>
              <a:t>CLM</a:t>
            </a:r>
            <a:r>
              <a:rPr lang="km-KH" sz="1800" dirty="0">
                <a:solidFill>
                  <a:srgbClr val="0070C0"/>
                </a:solidFill>
                <a:latin typeface="Khmer OS Muol Light" panose="02000500000000020004" pitchFamily="2" charset="0"/>
                <a:cs typeface="Khmer OS Muol Light" panose="02000500000000020004" pitchFamily="2" charset="0"/>
              </a:rPr>
              <a:t> </a:t>
            </a:r>
            <a:r>
              <a:rPr lang="km-KH" dirty="0">
                <a:solidFill>
                  <a:srgbClr val="0070C0"/>
                </a:solidFill>
                <a:latin typeface="Khmer OS Muol Light" panose="02000500000000020004" pitchFamily="2" charset="0"/>
                <a:cs typeface="Khmer OS Muol Light" panose="02000500000000020004" pitchFamily="2" charset="0"/>
              </a:rPr>
              <a:t>នៃផ្នែកកិច្គគាំពារសង្គម</a:t>
            </a:r>
            <a:endParaRPr lang="km-KH" sz="1800" dirty="0">
              <a:solidFill>
                <a:srgbClr val="0070C0"/>
              </a:solidFill>
              <a:latin typeface="Khmer OS Muol Light" panose="02000500000000020004" pitchFamily="2" charset="0"/>
              <a:cs typeface="Khmer OS Muol Light" panose="02000500000000020004" pitchFamily="2" charset="0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DCC8ADE3-A297-6635-F6B4-A83E4252D275}"/>
              </a:ext>
            </a:extLst>
          </p:cNvPr>
          <p:cNvSpPr/>
          <p:nvPr/>
        </p:nvSpPr>
        <p:spPr>
          <a:xfrm flipH="1">
            <a:off x="3908317" y="4900443"/>
            <a:ext cx="356729" cy="677108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ctr"/>
            <a:r>
              <a:rPr lang="en-US" sz="4400" b="1" dirty="0">
                <a:solidFill>
                  <a:schemeClr val="lt1"/>
                </a:solidFill>
                <a:cs typeface="Arial" panose="020B0604020202020204" pitchFamily="34" charset="0"/>
              </a:rPr>
              <a:t>3</a:t>
            </a:r>
            <a:endParaRPr lang="en-US" sz="1600" b="1" dirty="0">
              <a:solidFill>
                <a:schemeClr val="lt1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527655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072E6F9B-A207-5476-ED62-E200EF8AF801}"/>
              </a:ext>
            </a:extLst>
          </p:cNvPr>
          <p:cNvSpPr txBox="1">
            <a:spLocks/>
          </p:cNvSpPr>
          <p:nvPr/>
        </p:nvSpPr>
        <p:spPr>
          <a:xfrm>
            <a:off x="1581665" y="369803"/>
            <a:ext cx="10382170" cy="914400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120000"/>
              </a:lnSpc>
              <a:spcBef>
                <a:spcPct val="0"/>
              </a:spcBef>
              <a:buNone/>
              <a:defRPr sz="4400" b="1" kern="1200">
                <a:solidFill>
                  <a:srgbClr val="002060"/>
                </a:solidFill>
                <a:latin typeface="Khmer OS Siemreap" panose="02000500000000020004" pitchFamily="2" charset="0"/>
                <a:ea typeface="+mj-ea"/>
                <a:cs typeface="Khmer OS Siemreap" panose="02000500000000020004" pitchFamily="2" charset="0"/>
              </a:defRPr>
            </a:lvl1pPr>
          </a:lstStyle>
          <a:p>
            <a:r>
              <a:rPr lang="km-KH" sz="3600" dirty="0"/>
              <a:t>អំពីវេទិកាហ្វុនប៉ាម និងឌីហ្វុនប៉ាម</a:t>
            </a:r>
            <a:endParaRPr lang="en-US" sz="3600" dirty="0"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98654AFD-F01C-2F50-4754-6633B88082D4}"/>
              </a:ext>
            </a:extLst>
          </p:cNvPr>
          <p:cNvSpPr txBox="1">
            <a:spLocks/>
          </p:cNvSpPr>
          <p:nvPr/>
        </p:nvSpPr>
        <p:spPr>
          <a:xfrm>
            <a:off x="633046" y="1531655"/>
            <a:ext cx="5060222" cy="4956541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12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Khmer OS Siemreap" panose="02000500000000020004" pitchFamily="2" charset="0"/>
                <a:ea typeface="+mn-ea"/>
                <a:cs typeface="Khmer OS Siemreap" panose="02000500000000020004" pitchFamily="2" charset="0"/>
              </a:defRPr>
            </a:lvl1pPr>
            <a:lvl2pPr marL="6858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Khmer OS Siemreap" panose="02000500000000020004" pitchFamily="2" charset="0"/>
                <a:ea typeface="+mn-ea"/>
                <a:cs typeface="Khmer OS Siemreap" panose="02000500000000020004" pitchFamily="2" charset="0"/>
              </a:defRPr>
            </a:lvl2pPr>
            <a:lvl3pPr marL="11430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Khmer OS Siemreap" panose="02000500000000020004" pitchFamily="2" charset="0"/>
                <a:ea typeface="+mn-ea"/>
                <a:cs typeface="Khmer OS Siemreap" panose="02000500000000020004" pitchFamily="2" charset="0"/>
              </a:defRPr>
            </a:lvl3pPr>
            <a:lvl4pPr marL="16002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Khmer OS Siemreap" panose="02000500000000020004" pitchFamily="2" charset="0"/>
                <a:ea typeface="+mn-ea"/>
                <a:cs typeface="Khmer OS Siemreap" panose="02000500000000020004" pitchFamily="2" charset="0"/>
              </a:defRPr>
            </a:lvl4pPr>
            <a:lvl5pPr marL="20574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Khmer OS Siemreap" panose="02000500000000020004" pitchFamily="2" charset="0"/>
                <a:ea typeface="+mn-ea"/>
                <a:cs typeface="Khmer OS Siemreap" panose="02000500000000020004" pitchFamily="2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200000"/>
              </a:lnSpc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km-KH" sz="2400" b="1" dirty="0"/>
              <a:t>វេទិកាសហគមន៍ហ្វុនប៉ាម និងឌីហ្វុនប៉ាម </a:t>
            </a:r>
            <a:r>
              <a:rPr lang="km-KH" sz="2400" dirty="0"/>
              <a:t>គឺជា</a:t>
            </a:r>
            <a:r>
              <a:rPr lang="km-KH" sz="2400" u="sng" dirty="0"/>
              <a:t>វេទិការួមគ្នានៃ​បណ្តាញ</a:t>
            </a:r>
            <a:r>
              <a:rPr lang="km-KH" sz="2400" dirty="0"/>
              <a:t>អ្នករស់នៅជាមួយមេរោគអេដស៍ និងក្រុមប្រឈមមុខខ្ពស់នឹងការ​ឆ្លងមេរោគអេដស៍ បានចង់ក្រងឡើងនៅពាក់កណ្តាលឆ្នាំ​ ២០១១ ដោយ </a:t>
            </a:r>
            <a:r>
              <a:rPr lang="en-US" sz="2400" dirty="0"/>
              <a:t>UNAIDS </a:t>
            </a:r>
            <a:endParaRPr lang="km-KH" sz="2400" dirty="0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B103C087-F1F7-E469-F382-92358E60F17E}"/>
              </a:ext>
            </a:extLst>
          </p:cNvPr>
          <p:cNvGrpSpPr/>
          <p:nvPr/>
        </p:nvGrpSpPr>
        <p:grpSpPr>
          <a:xfrm>
            <a:off x="6407051" y="2905760"/>
            <a:ext cx="5451278" cy="3582437"/>
            <a:chOff x="1772868" y="1904640"/>
            <a:chExt cx="6725866" cy="4038959"/>
          </a:xfrm>
        </p:grpSpPr>
        <p:sp>
          <p:nvSpPr>
            <p:cNvPr id="7" name="Hexagon 6">
              <a:extLst>
                <a:ext uri="{FF2B5EF4-FFF2-40B4-BE49-F238E27FC236}">
                  <a16:creationId xmlns:a16="http://schemas.microsoft.com/office/drawing/2014/main" id="{C26D917E-2C61-680F-B399-5ACE307AE5E9}"/>
                </a:ext>
              </a:extLst>
            </p:cNvPr>
            <p:cNvSpPr/>
            <p:nvPr/>
          </p:nvSpPr>
          <p:spPr>
            <a:xfrm>
              <a:off x="3943928" y="1904640"/>
              <a:ext cx="2533072" cy="2014936"/>
            </a:xfrm>
            <a:prstGeom prst="hexagon">
              <a:avLst/>
            </a:prstGeom>
            <a:solidFill>
              <a:srgbClr val="FFCC00"/>
            </a:solidFill>
            <a:ln>
              <a:solidFill>
                <a:srgbClr val="FFCC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50000"/>
                </a:lnSpc>
              </a:pPr>
              <a:r>
                <a:rPr lang="km-KH" sz="1400" dirty="0">
                  <a:solidFill>
                    <a:srgbClr val="002060"/>
                  </a:solidFill>
                  <a:latin typeface="Khmer OS Content" panose="02000500000000020004" pitchFamily="2" charset="0"/>
                  <a:cs typeface="Khmer OS Content" panose="02000500000000020004" pitchFamily="2" charset="0"/>
                </a:rPr>
                <a:t>បណ្តាញអ្នកស្រឡាញ់ភេទដូចគ្នា (</a:t>
              </a:r>
              <a:r>
                <a:rPr lang="en-US" sz="1400" dirty="0">
                  <a:solidFill>
                    <a:srgbClr val="002060"/>
                  </a:solidFill>
                  <a:latin typeface="Khmer OS Content" panose="02000500000000020004" pitchFamily="2" charset="0"/>
                  <a:cs typeface="Khmer OS Content" panose="02000500000000020004" pitchFamily="2" charset="0"/>
                </a:rPr>
                <a:t>BC)</a:t>
              </a:r>
            </a:p>
          </p:txBody>
        </p:sp>
        <p:sp>
          <p:nvSpPr>
            <p:cNvPr id="8" name="Hexagon 7">
              <a:extLst>
                <a:ext uri="{FF2B5EF4-FFF2-40B4-BE49-F238E27FC236}">
                  <a16:creationId xmlns:a16="http://schemas.microsoft.com/office/drawing/2014/main" id="{C3B6C6AE-1BEB-E84C-ECF9-557E003580B9}"/>
                </a:ext>
              </a:extLst>
            </p:cNvPr>
            <p:cNvSpPr/>
            <p:nvPr/>
          </p:nvSpPr>
          <p:spPr>
            <a:xfrm>
              <a:off x="5984134" y="2898403"/>
              <a:ext cx="2514600" cy="2014936"/>
            </a:xfrm>
            <a:prstGeom prst="hexagon">
              <a:avLst/>
            </a:prstGeom>
            <a:solidFill>
              <a:srgbClr val="66FF99"/>
            </a:solidFill>
            <a:ln>
              <a:solidFill>
                <a:srgbClr val="66FF9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50000"/>
                </a:lnSpc>
              </a:pPr>
              <a:r>
                <a:rPr lang="km-KH" sz="1400" dirty="0">
                  <a:solidFill>
                    <a:srgbClr val="002060"/>
                  </a:solidFill>
                  <a:latin typeface="Khmer OS Content" panose="02000500000000020004" pitchFamily="2" charset="0"/>
                  <a:cs typeface="Khmer OS Content" panose="02000500000000020004" pitchFamily="2" charset="0"/>
                </a:rPr>
                <a:t>បណ្តាញស្រ្តីធ្វើការតាមសេវាកម្សាន្ត</a:t>
              </a:r>
              <a:r>
                <a:rPr lang="en-US" sz="1400" dirty="0">
                  <a:solidFill>
                    <a:srgbClr val="002060"/>
                  </a:solidFill>
                  <a:latin typeface="Khmer OS Content" panose="02000500000000020004" pitchFamily="2" charset="0"/>
                  <a:cs typeface="Khmer OS Content" panose="02000500000000020004" pitchFamily="2" charset="0"/>
                </a:rPr>
                <a:t> (NEWN)</a:t>
              </a:r>
              <a:endParaRPr lang="km-KH" sz="1400" dirty="0">
                <a:solidFill>
                  <a:srgbClr val="002060"/>
                </a:solidFill>
                <a:latin typeface="Khmer OS Content" panose="02000500000000020004" pitchFamily="2" charset="0"/>
                <a:cs typeface="Khmer OS Content" panose="02000500000000020004" pitchFamily="2" charset="0"/>
              </a:endParaRPr>
            </a:p>
          </p:txBody>
        </p:sp>
        <p:sp>
          <p:nvSpPr>
            <p:cNvPr id="9" name="Hexagon 8">
              <a:extLst>
                <a:ext uri="{FF2B5EF4-FFF2-40B4-BE49-F238E27FC236}">
                  <a16:creationId xmlns:a16="http://schemas.microsoft.com/office/drawing/2014/main" id="{E4A25EC9-5100-8D91-933E-250363A8349F}"/>
                </a:ext>
              </a:extLst>
            </p:cNvPr>
            <p:cNvSpPr/>
            <p:nvPr/>
          </p:nvSpPr>
          <p:spPr>
            <a:xfrm>
              <a:off x="3962400" y="3938495"/>
              <a:ext cx="2514600" cy="2005104"/>
            </a:xfrm>
            <a:prstGeom prst="hexagon">
              <a:avLst/>
            </a:prstGeom>
            <a:solidFill>
              <a:srgbClr val="FFFF00"/>
            </a:solidFill>
            <a:ln>
              <a:solidFill>
                <a:srgbClr val="FFFF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50000"/>
                </a:lnSpc>
              </a:pPr>
              <a:r>
                <a:rPr lang="km-KH" sz="1400" dirty="0">
                  <a:solidFill>
                    <a:schemeClr val="tx1"/>
                  </a:solidFill>
                  <a:latin typeface="Khmer OS Content" panose="02000500000000020004" pitchFamily="2" charset="0"/>
                  <a:cs typeface="Khmer OS Content" panose="02000500000000020004" pitchFamily="2" charset="0"/>
                </a:rPr>
                <a:t>បណ្តាញអ្នកប្រើប្រាស់គ្រឿងញៀន</a:t>
              </a:r>
              <a:r>
                <a:rPr lang="en-US" sz="1400" dirty="0">
                  <a:solidFill>
                    <a:schemeClr val="tx1"/>
                  </a:solidFill>
                  <a:latin typeface="Khmer OS Content" panose="02000500000000020004" pitchFamily="2" charset="0"/>
                  <a:cs typeface="Khmer OS Content" panose="02000500000000020004" pitchFamily="2" charset="0"/>
                </a:rPr>
                <a:t> (CNPUD)</a:t>
              </a:r>
              <a:endParaRPr lang="km-KH" sz="1400" dirty="0">
                <a:solidFill>
                  <a:schemeClr val="tx1"/>
                </a:solidFill>
                <a:latin typeface="Khmer OS Content" panose="02000500000000020004" pitchFamily="2" charset="0"/>
                <a:cs typeface="Khmer OS Content" panose="02000500000000020004" pitchFamily="2" charset="0"/>
              </a:endParaRPr>
            </a:p>
          </p:txBody>
        </p:sp>
        <p:sp>
          <p:nvSpPr>
            <p:cNvPr id="10" name="Hexagon 9">
              <a:extLst>
                <a:ext uri="{FF2B5EF4-FFF2-40B4-BE49-F238E27FC236}">
                  <a16:creationId xmlns:a16="http://schemas.microsoft.com/office/drawing/2014/main" id="{18E9D952-2EE9-5232-F9DA-01D87086AF14}"/>
                </a:ext>
              </a:extLst>
            </p:cNvPr>
            <p:cNvSpPr/>
            <p:nvPr/>
          </p:nvSpPr>
          <p:spPr>
            <a:xfrm>
              <a:off x="1772868" y="2914072"/>
              <a:ext cx="2658280" cy="2014936"/>
            </a:xfrm>
            <a:prstGeom prst="hexagon">
              <a:avLst/>
            </a:prstGeom>
            <a:solidFill>
              <a:srgbClr val="00B0F0"/>
            </a:solidFill>
            <a:ln>
              <a:solidFill>
                <a:srgbClr val="00B0F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50000"/>
                </a:lnSpc>
              </a:pPr>
              <a:r>
                <a:rPr lang="km-KH" sz="1400" dirty="0">
                  <a:solidFill>
                    <a:srgbClr val="002060"/>
                  </a:solidFill>
                  <a:latin typeface="Khmer OS Content" panose="02000500000000020004" pitchFamily="2" charset="0"/>
                  <a:cs typeface="Khmer OS Content" panose="02000500000000020004" pitchFamily="2" charset="0"/>
                </a:rPr>
                <a:t>បណ្តាញអ្នករស់នៅជាមួយមេរោគអេដស៍</a:t>
              </a:r>
              <a:r>
                <a:rPr lang="en-US" sz="1400" dirty="0">
                  <a:solidFill>
                    <a:srgbClr val="002060"/>
                  </a:solidFill>
                  <a:latin typeface="Khmer OS Content" panose="02000500000000020004" pitchFamily="2" charset="0"/>
                  <a:cs typeface="Khmer OS Content" panose="02000500000000020004" pitchFamily="2" charset="0"/>
                </a:rPr>
                <a:t> (</a:t>
              </a:r>
              <a:r>
                <a:rPr lang="en-US" sz="1400" dirty="0" err="1">
                  <a:solidFill>
                    <a:srgbClr val="002060"/>
                  </a:solidFill>
                  <a:latin typeface="Khmer OS Content" panose="02000500000000020004" pitchFamily="2" charset="0"/>
                  <a:cs typeface="Khmer OS Content" panose="02000500000000020004" pitchFamily="2" charset="0"/>
                </a:rPr>
                <a:t>CPN</a:t>
              </a:r>
              <a:r>
                <a:rPr lang="en-US" sz="1400" dirty="0">
                  <a:solidFill>
                    <a:srgbClr val="002060"/>
                  </a:solidFill>
                  <a:latin typeface="Khmer OS Content" panose="02000500000000020004" pitchFamily="2" charset="0"/>
                  <a:cs typeface="Khmer OS Content" panose="02000500000000020004" pitchFamily="2" charset="0"/>
                </a:rPr>
                <a:t>+ </a:t>
              </a:r>
              <a:r>
                <a:rPr lang="km-KH" sz="1400" dirty="0">
                  <a:solidFill>
                    <a:srgbClr val="002060"/>
                  </a:solidFill>
                  <a:latin typeface="Khmer OS Content" panose="02000500000000020004" pitchFamily="2" charset="0"/>
                  <a:cs typeface="Khmer OS Content" panose="02000500000000020004" pitchFamily="2" charset="0"/>
                </a:rPr>
                <a:t>និង </a:t>
              </a:r>
              <a:r>
                <a:rPr lang="en-US" sz="1400" dirty="0">
                  <a:solidFill>
                    <a:srgbClr val="002060"/>
                  </a:solidFill>
                  <a:latin typeface="Khmer OS Content" panose="02000500000000020004" pitchFamily="2" charset="0"/>
                  <a:cs typeface="Khmer OS Content" panose="02000500000000020004" pitchFamily="2" charset="0"/>
                </a:rPr>
                <a:t>AUA)</a:t>
              </a:r>
              <a:endParaRPr lang="km-KH" sz="1400" dirty="0">
                <a:solidFill>
                  <a:srgbClr val="002060"/>
                </a:solidFill>
                <a:latin typeface="Khmer OS Content" panose="02000500000000020004" pitchFamily="2" charset="0"/>
                <a:cs typeface="Khmer OS Content" panose="02000500000000020004" pitchFamily="2" charset="0"/>
              </a:endParaRPr>
            </a:p>
          </p:txBody>
        </p:sp>
      </p:grpSp>
      <p:pic>
        <p:nvPicPr>
          <p:cNvPr id="11" name="Picture 10">
            <a:extLst>
              <a:ext uri="{FF2B5EF4-FFF2-40B4-BE49-F238E27FC236}">
                <a16:creationId xmlns:a16="http://schemas.microsoft.com/office/drawing/2014/main" id="{E3ACF914-6A99-1EBB-8F94-7F0231DE52F7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7470" t="22222" r="2756" b="46651"/>
          <a:stretch/>
        </p:blipFill>
        <p:spPr>
          <a:xfrm>
            <a:off x="6289040" y="1531655"/>
            <a:ext cx="5674796" cy="12454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585193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>
            <a:extLst>
              <a:ext uri="{FF2B5EF4-FFF2-40B4-BE49-F238E27FC236}">
                <a16:creationId xmlns:a16="http://schemas.microsoft.com/office/drawing/2014/main" id="{938A3414-18A0-9FFE-BB77-57D6354B4D9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513917" y="2435778"/>
            <a:ext cx="2496014" cy="2300342"/>
          </a:xfrm>
          <a:custGeom>
            <a:avLst/>
            <a:gdLst>
              <a:gd name="connsiteX0" fmla="*/ 0 w 5208459"/>
              <a:gd name="connsiteY0" fmla="*/ 0 h 4800147"/>
              <a:gd name="connsiteX1" fmla="*/ 5208459 w 5208459"/>
              <a:gd name="connsiteY1" fmla="*/ 0 h 4800147"/>
              <a:gd name="connsiteX2" fmla="*/ 5208459 w 5208459"/>
              <a:gd name="connsiteY2" fmla="*/ 2255074 h 4800147"/>
              <a:gd name="connsiteX3" fmla="*/ 4997830 w 5208459"/>
              <a:gd name="connsiteY3" fmla="*/ 2255074 h 4800147"/>
              <a:gd name="connsiteX4" fmla="*/ 4997830 w 5208459"/>
              <a:gd name="connsiteY4" fmla="*/ 4800147 h 4800147"/>
              <a:gd name="connsiteX5" fmla="*/ 0 w 5208459"/>
              <a:gd name="connsiteY5" fmla="*/ 4800147 h 48001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208459" h="4800147">
                <a:moveTo>
                  <a:pt x="0" y="0"/>
                </a:moveTo>
                <a:lnTo>
                  <a:pt x="5208459" y="0"/>
                </a:lnTo>
                <a:lnTo>
                  <a:pt x="5208459" y="2255074"/>
                </a:lnTo>
                <a:lnTo>
                  <a:pt x="4997830" y="2255074"/>
                </a:lnTo>
                <a:lnTo>
                  <a:pt x="4997830" y="4800147"/>
                </a:lnTo>
                <a:lnTo>
                  <a:pt x="0" y="480014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44F4E475-F338-7DBB-78FE-857C7AAC5F57}"/>
              </a:ext>
            </a:extLst>
          </p:cNvPr>
          <p:cNvSpPr txBox="1">
            <a:spLocks noChangeAspect="1"/>
          </p:cNvSpPr>
          <p:nvPr/>
        </p:nvSpPr>
        <p:spPr>
          <a:xfrm>
            <a:off x="4320770" y="2335054"/>
            <a:ext cx="7516231" cy="30931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682625" lvl="2" indent="-342900">
              <a:lnSpc>
                <a:spcPct val="200000"/>
              </a:lnSpc>
              <a:buFont typeface="Courier New" panose="02070309020205020404" pitchFamily="49" charset="0"/>
              <a:buChar char="o"/>
            </a:pPr>
            <a:r>
              <a:rPr lang="km-KH" sz="2000" dirty="0">
                <a:latin typeface="Khmer OS Content" panose="02000500000000020004" pitchFamily="2" charset="0"/>
                <a:cs typeface="Khmer OS Content" panose="02000500000000020004" pitchFamily="2" charset="0"/>
              </a:rPr>
              <a:t>ជាតំណាងនៃសម្លេងរបស់សហគមន៍</a:t>
            </a:r>
            <a:endParaRPr lang="en-US" sz="2000" dirty="0">
              <a:latin typeface="Khmer OS Content" panose="02000500000000020004" pitchFamily="2" charset="0"/>
              <a:cs typeface="Khmer OS Content" panose="02000500000000020004" pitchFamily="2" charset="0"/>
            </a:endParaRPr>
          </a:p>
          <a:p>
            <a:pPr marL="682625" lvl="2" indent="-342900">
              <a:lnSpc>
                <a:spcPct val="200000"/>
              </a:lnSpc>
              <a:buFont typeface="Courier New" panose="02070309020205020404" pitchFamily="49" charset="0"/>
              <a:buChar char="o"/>
            </a:pPr>
            <a:r>
              <a:rPr lang="km-KH" sz="2000" dirty="0">
                <a:latin typeface="Khmer OS Content" panose="02000500000000020004" pitchFamily="2" charset="0"/>
                <a:cs typeface="Khmer OS Content" panose="02000500000000020004" pitchFamily="2" charset="0"/>
              </a:rPr>
              <a:t>សម្របសម្រួល និងទំនាក់ទំនងក្នុងចែករំលែកព័ត៌មាន</a:t>
            </a:r>
          </a:p>
          <a:p>
            <a:pPr marL="682625" lvl="2" indent="-342900">
              <a:lnSpc>
                <a:spcPct val="200000"/>
              </a:lnSpc>
              <a:buFont typeface="Courier New" panose="02070309020205020404" pitchFamily="49" charset="0"/>
              <a:buChar char="o"/>
            </a:pPr>
            <a:r>
              <a:rPr lang="km-KH" sz="2000" dirty="0">
                <a:latin typeface="Khmer OS Content" panose="02000500000000020004" pitchFamily="2" charset="0"/>
                <a:cs typeface="Khmer OS Content" panose="02000500000000020004" pitchFamily="2" charset="0"/>
              </a:rPr>
              <a:t>អនុវត្តការតាមដានដែលដឹកនាំដោយសហគមន៍ </a:t>
            </a:r>
            <a:r>
              <a:rPr lang="en-US" sz="2000" dirty="0">
                <a:latin typeface="Khmer OS Content" panose="02000500000000020004" pitchFamily="2" charset="0"/>
                <a:cs typeface="Khmer OS Content" panose="02000500000000020004" pitchFamily="2" charset="0"/>
              </a:rPr>
              <a:t>(CLM)</a:t>
            </a:r>
            <a:endParaRPr lang="km-KH" sz="2000" dirty="0">
              <a:latin typeface="Khmer OS Content" panose="02000500000000020004" pitchFamily="2" charset="0"/>
              <a:cs typeface="Khmer OS Content" panose="02000500000000020004" pitchFamily="2" charset="0"/>
            </a:endParaRPr>
          </a:p>
          <a:p>
            <a:pPr marL="682625" lvl="2" indent="-342900">
              <a:lnSpc>
                <a:spcPct val="200000"/>
              </a:lnSpc>
              <a:buFont typeface="Courier New" panose="02070309020205020404" pitchFamily="49" charset="0"/>
              <a:buChar char="o"/>
            </a:pPr>
            <a:r>
              <a:rPr lang="km-KH" sz="2000" dirty="0">
                <a:latin typeface="Khmer OS Content" panose="02000500000000020004" pitchFamily="2" charset="0"/>
                <a:cs typeface="Khmer OS Content" panose="02000500000000020004" pitchFamily="2" charset="0"/>
              </a:rPr>
              <a:t>សម្របសម្រួលលើការស្រាវជ្រាវ និងស្វែងរកការគាំទ្រ</a:t>
            </a:r>
          </a:p>
          <a:p>
            <a:pPr marL="682625" lvl="2" indent="-342900">
              <a:lnSpc>
                <a:spcPct val="200000"/>
              </a:lnSpc>
              <a:buFont typeface="Courier New" panose="02070309020205020404" pitchFamily="49" charset="0"/>
              <a:buChar char="o"/>
            </a:pPr>
            <a:r>
              <a:rPr lang="km-KH" sz="2000" dirty="0">
                <a:latin typeface="Khmer OS Content" panose="02000500000000020004" pitchFamily="2" charset="0"/>
                <a:cs typeface="Khmer OS Content" panose="02000500000000020004" pitchFamily="2" charset="0"/>
              </a:rPr>
              <a:t>ការចូលរួម យន្តការសម្របសម្រួល</a:t>
            </a:r>
          </a:p>
        </p:txBody>
      </p:sp>
      <p:sp>
        <p:nvSpPr>
          <p:cNvPr id="106" name="TextBox 105">
            <a:extLst>
              <a:ext uri="{FF2B5EF4-FFF2-40B4-BE49-F238E27FC236}">
                <a16:creationId xmlns:a16="http://schemas.microsoft.com/office/drawing/2014/main" id="{FE61A101-FA80-27D0-1716-E3D5BE2EB4FE}"/>
              </a:ext>
            </a:extLst>
          </p:cNvPr>
          <p:cNvSpPr txBox="1"/>
          <p:nvPr/>
        </p:nvSpPr>
        <p:spPr>
          <a:xfrm>
            <a:off x="701829" y="4757721"/>
            <a:ext cx="2120189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km-KH" sz="2400" b="1" dirty="0">
                <a:latin typeface="Khmer OS Muol Light" panose="02000500000000020004" pitchFamily="2" charset="0"/>
                <a:cs typeface="Khmer OS Muol Light" panose="02000500000000020004" pitchFamily="2" charset="0"/>
              </a:rPr>
              <a:t>គោលបំណង</a:t>
            </a:r>
            <a:endParaRPr lang="en-US" sz="2400" dirty="0">
              <a:latin typeface="Khmer OS Muol Light" panose="02000500000000020004" pitchFamily="2" charset="0"/>
              <a:cs typeface="Khmer OS Muol Light" panose="02000500000000020004" pitchFamily="2" charset="0"/>
            </a:endParaRPr>
          </a:p>
        </p:txBody>
      </p:sp>
      <p:sp>
        <p:nvSpPr>
          <p:cNvPr id="110" name="TextBox 109">
            <a:extLst>
              <a:ext uri="{FF2B5EF4-FFF2-40B4-BE49-F238E27FC236}">
                <a16:creationId xmlns:a16="http://schemas.microsoft.com/office/drawing/2014/main" id="{3A9742C4-CDD6-2299-A103-969BC6F1E2E9}"/>
              </a:ext>
            </a:extLst>
          </p:cNvPr>
          <p:cNvSpPr txBox="1">
            <a:spLocks noChangeAspect="1"/>
          </p:cNvSpPr>
          <p:nvPr/>
        </p:nvSpPr>
        <p:spPr>
          <a:xfrm>
            <a:off x="1507524" y="526086"/>
            <a:ext cx="10329477" cy="14773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lnSpc>
                <a:spcPct val="200000"/>
              </a:lnSpc>
              <a:spcAft>
                <a:spcPts val="600"/>
              </a:spcAft>
            </a:pPr>
            <a:r>
              <a:rPr lang="km-KH" sz="2400" b="1" dirty="0">
                <a:solidFill>
                  <a:srgbClr val="002060"/>
                </a:solidFill>
                <a:latin typeface="Khmer OS Content" panose="02000500000000020004" pitchFamily="2" charset="0"/>
                <a:cs typeface="Khmer OS Content" panose="02000500000000020004" pitchFamily="2" charset="0"/>
              </a:rPr>
              <a:t>ដើម្បីធ្វើការរួមជាសំលេងរួមគ្នារបស់</a:t>
            </a:r>
            <a:r>
              <a:rPr lang="en-US" sz="2400" b="1" dirty="0">
                <a:solidFill>
                  <a:srgbClr val="002060"/>
                </a:solidFill>
                <a:latin typeface="Khmer OS Content" panose="02000500000000020004" pitchFamily="2" charset="0"/>
                <a:cs typeface="Khmer OS Content" panose="02000500000000020004" pitchFamily="2" charset="0"/>
              </a:rPr>
              <a:t> PLHIV </a:t>
            </a:r>
            <a:r>
              <a:rPr lang="km-KH" sz="2400" b="1" dirty="0">
                <a:solidFill>
                  <a:srgbClr val="002060"/>
                </a:solidFill>
                <a:latin typeface="Khmer OS Content" panose="02000500000000020004" pitchFamily="2" charset="0"/>
                <a:cs typeface="Khmer OS Content" panose="02000500000000020004" pitchFamily="2" charset="0"/>
              </a:rPr>
              <a:t>និង</a:t>
            </a:r>
            <a:r>
              <a:rPr lang="en-US" sz="2400" b="1" dirty="0">
                <a:solidFill>
                  <a:srgbClr val="002060"/>
                </a:solidFill>
                <a:latin typeface="Khmer OS Content" panose="02000500000000020004" pitchFamily="2" charset="0"/>
                <a:cs typeface="Khmer OS Content" panose="02000500000000020004" pitchFamily="2" charset="0"/>
              </a:rPr>
              <a:t> </a:t>
            </a:r>
            <a:r>
              <a:rPr lang="km-KH" sz="2400" b="1" dirty="0">
                <a:solidFill>
                  <a:srgbClr val="002060"/>
                </a:solidFill>
                <a:latin typeface="Khmer OS Content" panose="02000500000000020004" pitchFamily="2" charset="0"/>
                <a:cs typeface="Khmer OS Content" panose="02000500000000020004" pitchFamily="2" charset="0"/>
              </a:rPr>
              <a:t>​</a:t>
            </a:r>
            <a:r>
              <a:rPr lang="en-US" sz="2400" b="1" dirty="0">
                <a:solidFill>
                  <a:srgbClr val="002060"/>
                </a:solidFill>
                <a:latin typeface="Khmer OS Content" panose="02000500000000020004" pitchFamily="2" charset="0"/>
                <a:cs typeface="Khmer OS Content" panose="02000500000000020004" pitchFamily="2" charset="0"/>
              </a:rPr>
              <a:t>KPs</a:t>
            </a:r>
            <a:r>
              <a:rPr lang="km-KH" sz="2400" b="1" dirty="0">
                <a:solidFill>
                  <a:srgbClr val="002060"/>
                </a:solidFill>
                <a:latin typeface="Khmer OS Content" panose="02000500000000020004" pitchFamily="2" charset="0"/>
                <a:cs typeface="Khmer OS Content" panose="02000500000000020004" pitchFamily="2" charset="0"/>
              </a:rPr>
              <a:t> ដើម្បីរួមចំណែកនឹងកម្មវិធី	ឆ្លើយតបទប់ស្កាត់ការរីករាលដាលនៃមេរោគអេដស៍ ជំងឺអេដស៍ក្នុងប្រទេសកម្ពុជា៖</a:t>
            </a:r>
            <a:endParaRPr lang="en-US" sz="2400" b="1" dirty="0">
              <a:solidFill>
                <a:srgbClr val="002060"/>
              </a:solidFill>
              <a:latin typeface="Khmer OS Content" panose="02000500000000020004" pitchFamily="2" charset="0"/>
              <a:cs typeface="Khmer OS Content" panose="02000500000000020004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4889885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ext Placeholder 2">
            <a:extLst>
              <a:ext uri="{FF2B5EF4-FFF2-40B4-BE49-F238E27FC236}">
                <a16:creationId xmlns:a16="http://schemas.microsoft.com/office/drawing/2014/main" id="{11A1B672-F0D6-881F-3CFF-92D27A7F3CCA}"/>
              </a:ext>
            </a:extLst>
          </p:cNvPr>
          <p:cNvSpPr txBox="1">
            <a:spLocks/>
          </p:cNvSpPr>
          <p:nvPr/>
        </p:nvSpPr>
        <p:spPr>
          <a:xfrm>
            <a:off x="894786" y="4599824"/>
            <a:ext cx="4155221" cy="1092233"/>
          </a:xfrm>
          <a:prstGeom prst="rect">
            <a:avLst/>
          </a:prstGeom>
          <a:noFill/>
          <a:ln>
            <a:noFill/>
          </a:ln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12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Khmer OS Siemreap" panose="02000500000000020004" pitchFamily="2" charset="0"/>
                <a:ea typeface="+mn-ea"/>
                <a:cs typeface="Khmer OS Siemreap" panose="02000500000000020004" pitchFamily="2" charset="0"/>
              </a:defRPr>
            </a:lvl1pPr>
            <a:lvl2pPr marL="6858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Khmer OS Siemreap" panose="02000500000000020004" pitchFamily="2" charset="0"/>
                <a:ea typeface="+mn-ea"/>
                <a:cs typeface="Khmer OS Siemreap" panose="02000500000000020004" pitchFamily="2" charset="0"/>
              </a:defRPr>
            </a:lvl2pPr>
            <a:lvl3pPr marL="11430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Khmer OS Siemreap" panose="02000500000000020004" pitchFamily="2" charset="0"/>
                <a:ea typeface="+mn-ea"/>
                <a:cs typeface="Khmer OS Siemreap" panose="02000500000000020004" pitchFamily="2" charset="0"/>
              </a:defRPr>
            </a:lvl3pPr>
            <a:lvl4pPr marL="16002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Khmer OS Siemreap" panose="02000500000000020004" pitchFamily="2" charset="0"/>
                <a:ea typeface="+mn-ea"/>
                <a:cs typeface="Khmer OS Siemreap" panose="02000500000000020004" pitchFamily="2" charset="0"/>
              </a:defRPr>
            </a:lvl4pPr>
            <a:lvl5pPr marL="20574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Khmer OS Siemreap" panose="02000500000000020004" pitchFamily="2" charset="0"/>
                <a:ea typeface="+mn-ea"/>
                <a:cs typeface="Khmer OS Siemreap" panose="02000500000000020004" pitchFamily="2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8100" indent="0" algn="ctr">
              <a:buClr>
                <a:srgbClr val="0070C0"/>
              </a:buClr>
              <a:buSzPct val="150000"/>
              <a:buFont typeface="Arial" panose="020B0604020202020204" pitchFamily="34" charset="0"/>
              <a:buNone/>
            </a:pPr>
            <a:r>
              <a:rPr lang="km-KH" sz="2400" b="1" dirty="0">
                <a:solidFill>
                  <a:srgbClr val="002060"/>
                </a:solidFill>
              </a:rPr>
              <a:t>តំណាងវេទិកាហ្វុនប៉ាម/ឌីហ្វុនប៉ាម</a:t>
            </a:r>
          </a:p>
          <a:p>
            <a:pPr marL="38100" indent="0" algn="ctr">
              <a:buClr>
                <a:srgbClr val="0070C0"/>
              </a:buClr>
              <a:buSzPct val="150000"/>
              <a:buFont typeface="Arial" panose="020B0604020202020204" pitchFamily="34" charset="0"/>
              <a:buNone/>
            </a:pPr>
            <a:r>
              <a:rPr lang="en-US" sz="1600" i="1" dirty="0">
                <a:solidFill>
                  <a:srgbClr val="00B0F0"/>
                </a:solidFill>
              </a:rPr>
              <a:t>https://fonpam.info/login</a:t>
            </a:r>
          </a:p>
        </p:txBody>
      </p:sp>
      <p:pic>
        <p:nvPicPr>
          <p:cNvPr id="37" name="Picture 36">
            <a:extLst>
              <a:ext uri="{FF2B5EF4-FFF2-40B4-BE49-F238E27FC236}">
                <a16:creationId xmlns:a16="http://schemas.microsoft.com/office/drawing/2014/main" id="{BD0DC635-D30C-17D7-6339-3636460772E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18314" y="1991642"/>
            <a:ext cx="2662995" cy="259229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C716BA54-FC49-A2A9-9840-54B2F76B0F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18314" y="365125"/>
            <a:ext cx="9735486" cy="1014959"/>
          </a:xfrm>
        </p:spPr>
        <p:txBody>
          <a:bodyPr>
            <a:normAutofit/>
          </a:bodyPr>
          <a:lstStyle/>
          <a:p>
            <a:r>
              <a:rPr lang="km-KH" sz="3600" b="1" dirty="0">
                <a:latin typeface="Khmer OS Content" panose="02000500000000020004" pitchFamily="2" charset="0"/>
                <a:cs typeface="Khmer OS Content" panose="02000500000000020004" pitchFamily="2" charset="0"/>
              </a:rPr>
              <a:t>អំពីវេទិកាហ្វុនប៉ាម និងឌីហ្វុនប៉ាម</a:t>
            </a:r>
            <a:endParaRPr lang="en-US" sz="3600" b="1" dirty="0"/>
          </a:p>
        </p:txBody>
      </p:sp>
      <p:grpSp>
        <p:nvGrpSpPr>
          <p:cNvPr id="56" name="Group 55">
            <a:extLst>
              <a:ext uri="{FF2B5EF4-FFF2-40B4-BE49-F238E27FC236}">
                <a16:creationId xmlns:a16="http://schemas.microsoft.com/office/drawing/2014/main" id="{5D0BEF0E-DB34-1D2D-7CE1-661F2AB0AB6B}"/>
              </a:ext>
            </a:extLst>
          </p:cNvPr>
          <p:cNvGrpSpPr/>
          <p:nvPr/>
        </p:nvGrpSpPr>
        <p:grpSpPr>
          <a:xfrm>
            <a:off x="4699421" y="1563803"/>
            <a:ext cx="7263979" cy="4929072"/>
            <a:chOff x="-271732" y="958347"/>
            <a:chExt cx="8128000" cy="5515365"/>
          </a:xfrm>
        </p:grpSpPr>
        <p:graphicFrame>
          <p:nvGraphicFramePr>
            <p:cNvPr id="57" name="Diagram 56">
              <a:extLst>
                <a:ext uri="{FF2B5EF4-FFF2-40B4-BE49-F238E27FC236}">
                  <a16:creationId xmlns:a16="http://schemas.microsoft.com/office/drawing/2014/main" id="{16F64604-2B44-2CCC-3C69-8A16CD7E8136}"/>
                </a:ext>
              </a:extLst>
            </p:cNvPr>
            <p:cNvGraphicFramePr/>
            <p:nvPr/>
          </p:nvGraphicFramePr>
          <p:xfrm>
            <a:off x="-271732" y="958347"/>
            <a:ext cx="8128000" cy="5418667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3" r:lo="rId4" r:qs="rId5" r:cs="rId6"/>
            </a:graphicData>
          </a:graphic>
        </p:graphicFrame>
        <p:grpSp>
          <p:nvGrpSpPr>
            <p:cNvPr id="58" name="Group 57">
              <a:extLst>
                <a:ext uri="{FF2B5EF4-FFF2-40B4-BE49-F238E27FC236}">
                  <a16:creationId xmlns:a16="http://schemas.microsoft.com/office/drawing/2014/main" id="{E3A94324-3E84-AD7B-4035-A295F467DEF7}"/>
                </a:ext>
              </a:extLst>
            </p:cNvPr>
            <p:cNvGrpSpPr/>
            <p:nvPr/>
          </p:nvGrpSpPr>
          <p:grpSpPr>
            <a:xfrm>
              <a:off x="4264665" y="1240203"/>
              <a:ext cx="1531588" cy="1315640"/>
              <a:chOff x="3860327" y="4384960"/>
              <a:chExt cx="2062437" cy="1687726"/>
            </a:xfrm>
          </p:grpSpPr>
          <p:grpSp>
            <p:nvGrpSpPr>
              <p:cNvPr id="80" name="Group 79">
                <a:extLst>
                  <a:ext uri="{FF2B5EF4-FFF2-40B4-BE49-F238E27FC236}">
                    <a16:creationId xmlns:a16="http://schemas.microsoft.com/office/drawing/2014/main" id="{CF845FE8-BC9B-C684-ACAE-314581EE4308}"/>
                  </a:ext>
                </a:extLst>
              </p:cNvPr>
              <p:cNvGrpSpPr/>
              <p:nvPr/>
            </p:nvGrpSpPr>
            <p:grpSpPr>
              <a:xfrm>
                <a:off x="4309537" y="4384960"/>
                <a:ext cx="1431475" cy="1363672"/>
                <a:chOff x="3397499" y="4129423"/>
                <a:chExt cx="1431475" cy="1363672"/>
              </a:xfrm>
            </p:grpSpPr>
            <p:sp>
              <p:nvSpPr>
                <p:cNvPr id="82" name="Oval 81">
                  <a:extLst>
                    <a:ext uri="{FF2B5EF4-FFF2-40B4-BE49-F238E27FC236}">
                      <a16:creationId xmlns:a16="http://schemas.microsoft.com/office/drawing/2014/main" id="{7BD748B2-CB42-1E76-7741-36C4F9404520}"/>
                    </a:ext>
                  </a:extLst>
                </p:cNvPr>
                <p:cNvSpPr/>
                <p:nvPr/>
              </p:nvSpPr>
              <p:spPr>
                <a:xfrm>
                  <a:off x="3397499" y="4129423"/>
                  <a:ext cx="1431475" cy="1363672"/>
                </a:xfrm>
                <a:prstGeom prst="ellipse">
                  <a:avLst/>
                </a:prstGeom>
                <a:solidFill>
                  <a:schemeClr val="tx2">
                    <a:lumMod val="20000"/>
                    <a:lumOff val="8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>
                    <a:latin typeface="Daytona Condensed" panose="020B0506030503040204" pitchFamily="34" charset="0"/>
                  </a:endParaRPr>
                </a:p>
              </p:txBody>
            </p:sp>
            <p:pic>
              <p:nvPicPr>
                <p:cNvPr id="83" name="Picture 82">
                  <a:extLst>
                    <a:ext uri="{FF2B5EF4-FFF2-40B4-BE49-F238E27FC236}">
                      <a16:creationId xmlns:a16="http://schemas.microsoft.com/office/drawing/2014/main" id="{39BA92CA-6256-13B5-46B1-D9167C6C8699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8">
                  <a:duotone>
                    <a:schemeClr val="accent1">
                      <a:shade val="45000"/>
                      <a:satMod val="135000"/>
                    </a:schemeClr>
                    <a:prstClr val="white"/>
                  </a:duotone>
                </a:blip>
                <a:stretch>
                  <a:fillRect/>
                </a:stretch>
              </p:blipFill>
              <p:spPr>
                <a:xfrm>
                  <a:off x="3790851" y="4420540"/>
                  <a:ext cx="637337" cy="688221"/>
                </a:xfrm>
                <a:prstGeom prst="rect">
                  <a:avLst/>
                </a:prstGeom>
              </p:spPr>
            </p:pic>
          </p:grpSp>
          <p:sp>
            <p:nvSpPr>
              <p:cNvPr id="81" name="Text Placeholder 2">
                <a:extLst>
                  <a:ext uri="{FF2B5EF4-FFF2-40B4-BE49-F238E27FC236}">
                    <a16:creationId xmlns:a16="http://schemas.microsoft.com/office/drawing/2014/main" id="{3C19340C-F132-E339-E1EB-241031CD3B94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3860327" y="5655416"/>
                <a:ext cx="2062437" cy="417270"/>
              </a:xfrm>
              <a:prstGeom prst="rect">
                <a:avLst/>
              </a:prstGeom>
            </p:spPr>
            <p:txBody>
              <a:bodyPr>
                <a:noAutofit/>
              </a:bodyPr>
              <a:lstStyle>
                <a:lvl1pPr marL="228600" indent="-228600" algn="l" defTabSz="914400" rtl="0" eaLnBrk="1" latinLnBrk="0" hangingPunct="1">
                  <a:lnSpc>
                    <a:spcPct val="12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2800" kern="1200">
                    <a:solidFill>
                      <a:schemeClr val="tx1"/>
                    </a:solidFill>
                    <a:latin typeface="Khmer OS Siemreap" panose="02000500000000020004" pitchFamily="2" charset="0"/>
                    <a:ea typeface="+mn-ea"/>
                    <a:cs typeface="Khmer OS Siemreap" panose="02000500000000020004" pitchFamily="2" charset="0"/>
                  </a:defRPr>
                </a:lvl1pPr>
                <a:lvl2pPr marL="685800" indent="-228600" algn="l" defTabSz="914400" rtl="0" eaLnBrk="1" latinLnBrk="0" hangingPunct="1">
                  <a:lnSpc>
                    <a:spcPct val="12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400" kern="1200">
                    <a:solidFill>
                      <a:schemeClr val="tx1"/>
                    </a:solidFill>
                    <a:latin typeface="Khmer OS Siemreap" panose="02000500000000020004" pitchFamily="2" charset="0"/>
                    <a:ea typeface="+mn-ea"/>
                    <a:cs typeface="Khmer OS Siemreap" panose="02000500000000020004" pitchFamily="2" charset="0"/>
                  </a:defRPr>
                </a:lvl2pPr>
                <a:lvl3pPr marL="1143000" indent="-228600" algn="l" defTabSz="914400" rtl="0" eaLnBrk="1" latinLnBrk="0" hangingPunct="1">
                  <a:lnSpc>
                    <a:spcPct val="12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Khmer OS Siemreap" panose="02000500000000020004" pitchFamily="2" charset="0"/>
                    <a:ea typeface="+mn-ea"/>
                    <a:cs typeface="Khmer OS Siemreap" panose="02000500000000020004" pitchFamily="2" charset="0"/>
                  </a:defRPr>
                </a:lvl3pPr>
                <a:lvl4pPr marL="1600200" indent="-228600" algn="l" defTabSz="914400" rtl="0" eaLnBrk="1" latinLnBrk="0" hangingPunct="1">
                  <a:lnSpc>
                    <a:spcPct val="12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Khmer OS Siemreap" panose="02000500000000020004" pitchFamily="2" charset="0"/>
                    <a:ea typeface="+mn-ea"/>
                    <a:cs typeface="Khmer OS Siemreap" panose="02000500000000020004" pitchFamily="2" charset="0"/>
                  </a:defRPr>
                </a:lvl4pPr>
                <a:lvl5pPr marL="2057400" indent="-228600" algn="l" defTabSz="914400" rtl="0" eaLnBrk="1" latinLnBrk="0" hangingPunct="1">
                  <a:lnSpc>
                    <a:spcPct val="12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Khmer OS Siemreap" panose="02000500000000020004" pitchFamily="2" charset="0"/>
                    <a:ea typeface="+mn-ea"/>
                    <a:cs typeface="Khmer OS Siemreap" panose="02000500000000020004" pitchFamily="2" charset="0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38100" indent="0" algn="ctr">
                  <a:lnSpc>
                    <a:spcPct val="150000"/>
                  </a:lnSpc>
                  <a:spcBef>
                    <a:spcPts val="0"/>
                  </a:spcBef>
                  <a:buClr>
                    <a:srgbClr val="0070C0"/>
                  </a:buClr>
                  <a:buSzPct val="150000"/>
                  <a:buNone/>
                </a:pPr>
                <a:r>
                  <a:rPr lang="km-KH" sz="1400" b="1" dirty="0">
                    <a:solidFill>
                      <a:srgbClr val="7030A0"/>
                    </a:solidFill>
                  </a:rPr>
                  <a:t>តំណាង </a:t>
                </a:r>
                <a:r>
                  <a:rPr lang="ca-ES" sz="1400" b="1" dirty="0">
                    <a:solidFill>
                      <a:srgbClr val="7030A0"/>
                    </a:solidFill>
                    <a:latin typeface="Daytona Condensed" panose="020B0506030503040204" pitchFamily="34" charset="0"/>
                    <a:cs typeface="+mn-cs"/>
                  </a:rPr>
                  <a:t>MSM </a:t>
                </a:r>
                <a:endParaRPr lang="km-KH" sz="1400" b="1" dirty="0">
                  <a:solidFill>
                    <a:srgbClr val="7030A0"/>
                  </a:solidFill>
                  <a:latin typeface="Daytona Condensed" panose="020B0506030503040204" pitchFamily="34" charset="0"/>
                  <a:cs typeface="+mn-cs"/>
                </a:endParaRPr>
              </a:p>
            </p:txBody>
          </p:sp>
        </p:grpSp>
        <p:grpSp>
          <p:nvGrpSpPr>
            <p:cNvPr id="59" name="Group 58">
              <a:extLst>
                <a:ext uri="{FF2B5EF4-FFF2-40B4-BE49-F238E27FC236}">
                  <a16:creationId xmlns:a16="http://schemas.microsoft.com/office/drawing/2014/main" id="{2C0C817B-FCD1-6421-6FFB-A0592E1CC718}"/>
                </a:ext>
              </a:extLst>
            </p:cNvPr>
            <p:cNvGrpSpPr/>
            <p:nvPr/>
          </p:nvGrpSpPr>
          <p:grpSpPr>
            <a:xfrm>
              <a:off x="5278811" y="3540728"/>
              <a:ext cx="1434083" cy="1308636"/>
              <a:chOff x="5997915" y="4384960"/>
              <a:chExt cx="1931135" cy="1678741"/>
            </a:xfrm>
          </p:grpSpPr>
          <p:grpSp>
            <p:nvGrpSpPr>
              <p:cNvPr id="76" name="Group 75">
                <a:extLst>
                  <a:ext uri="{FF2B5EF4-FFF2-40B4-BE49-F238E27FC236}">
                    <a16:creationId xmlns:a16="http://schemas.microsoft.com/office/drawing/2014/main" id="{6D362FAE-D89A-E0FF-95C6-CB97F2CF57F7}"/>
                  </a:ext>
                </a:extLst>
              </p:cNvPr>
              <p:cNvGrpSpPr/>
              <p:nvPr/>
            </p:nvGrpSpPr>
            <p:grpSpPr>
              <a:xfrm>
                <a:off x="6223324" y="4384960"/>
                <a:ext cx="1431475" cy="1363672"/>
                <a:chOff x="5011564" y="4160681"/>
                <a:chExt cx="1431475" cy="1363672"/>
              </a:xfrm>
            </p:grpSpPr>
            <p:sp>
              <p:nvSpPr>
                <p:cNvPr id="78" name="Oval 77">
                  <a:extLst>
                    <a:ext uri="{FF2B5EF4-FFF2-40B4-BE49-F238E27FC236}">
                      <a16:creationId xmlns:a16="http://schemas.microsoft.com/office/drawing/2014/main" id="{B9B1178B-515B-6E84-F82D-84F7C21318F3}"/>
                    </a:ext>
                  </a:extLst>
                </p:cNvPr>
                <p:cNvSpPr/>
                <p:nvPr/>
              </p:nvSpPr>
              <p:spPr>
                <a:xfrm>
                  <a:off x="5011564" y="4160681"/>
                  <a:ext cx="1431475" cy="1363672"/>
                </a:xfrm>
                <a:prstGeom prst="ellipse">
                  <a:avLst/>
                </a:prstGeom>
                <a:solidFill>
                  <a:schemeClr val="tx2">
                    <a:lumMod val="20000"/>
                    <a:lumOff val="8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>
                    <a:latin typeface="Daytona Condensed" panose="020B0506030503040204" pitchFamily="34" charset="0"/>
                  </a:endParaRPr>
                </a:p>
              </p:txBody>
            </p:sp>
            <p:pic>
              <p:nvPicPr>
                <p:cNvPr id="79" name="Picture 78">
                  <a:extLst>
                    <a:ext uri="{FF2B5EF4-FFF2-40B4-BE49-F238E27FC236}">
                      <a16:creationId xmlns:a16="http://schemas.microsoft.com/office/drawing/2014/main" id="{3C2A67AD-C395-2A47-C595-532B48190315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9">
                  <a:alphaModFix/>
                  <a:duotone>
                    <a:schemeClr val="accent1">
                      <a:shade val="45000"/>
                      <a:satMod val="135000"/>
                    </a:schemeClr>
                    <a:prstClr val="white"/>
                  </a:duotone>
                </a:blip>
                <a:srcRect t="11283"/>
                <a:stretch/>
              </p:blipFill>
              <p:spPr>
                <a:xfrm>
                  <a:off x="5274956" y="4475750"/>
                  <a:ext cx="953534" cy="808020"/>
                </a:xfrm>
                <a:prstGeom prst="rect">
                  <a:avLst/>
                </a:prstGeom>
              </p:spPr>
            </p:pic>
          </p:grpSp>
          <p:sp>
            <p:nvSpPr>
              <p:cNvPr id="77" name="Text Placeholder 2">
                <a:extLst>
                  <a:ext uri="{FF2B5EF4-FFF2-40B4-BE49-F238E27FC236}">
                    <a16:creationId xmlns:a16="http://schemas.microsoft.com/office/drawing/2014/main" id="{4B5A3498-93A5-75E0-F9F1-032A76C22995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997915" y="5689333"/>
                <a:ext cx="1931135" cy="374368"/>
              </a:xfrm>
              <a:prstGeom prst="rect">
                <a:avLst/>
              </a:prstGeom>
            </p:spPr>
            <p:txBody>
              <a:bodyPr>
                <a:noAutofit/>
              </a:bodyPr>
              <a:lstStyle>
                <a:lvl1pPr marL="228600" indent="-228600" algn="l" defTabSz="914400" rtl="0" eaLnBrk="1" latinLnBrk="0" hangingPunct="1">
                  <a:lnSpc>
                    <a:spcPct val="12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2800" kern="1200">
                    <a:solidFill>
                      <a:schemeClr val="tx1"/>
                    </a:solidFill>
                    <a:latin typeface="Khmer OS Siemreap" panose="02000500000000020004" pitchFamily="2" charset="0"/>
                    <a:ea typeface="+mn-ea"/>
                    <a:cs typeface="Khmer OS Siemreap" panose="02000500000000020004" pitchFamily="2" charset="0"/>
                  </a:defRPr>
                </a:lvl1pPr>
                <a:lvl2pPr marL="685800" indent="-228600" algn="l" defTabSz="914400" rtl="0" eaLnBrk="1" latinLnBrk="0" hangingPunct="1">
                  <a:lnSpc>
                    <a:spcPct val="12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400" kern="1200">
                    <a:solidFill>
                      <a:schemeClr val="tx1"/>
                    </a:solidFill>
                    <a:latin typeface="Khmer OS Siemreap" panose="02000500000000020004" pitchFamily="2" charset="0"/>
                    <a:ea typeface="+mn-ea"/>
                    <a:cs typeface="Khmer OS Siemreap" panose="02000500000000020004" pitchFamily="2" charset="0"/>
                  </a:defRPr>
                </a:lvl2pPr>
                <a:lvl3pPr marL="1143000" indent="-228600" algn="l" defTabSz="914400" rtl="0" eaLnBrk="1" latinLnBrk="0" hangingPunct="1">
                  <a:lnSpc>
                    <a:spcPct val="12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Khmer OS Siemreap" panose="02000500000000020004" pitchFamily="2" charset="0"/>
                    <a:ea typeface="+mn-ea"/>
                    <a:cs typeface="Khmer OS Siemreap" panose="02000500000000020004" pitchFamily="2" charset="0"/>
                  </a:defRPr>
                </a:lvl3pPr>
                <a:lvl4pPr marL="1600200" indent="-228600" algn="l" defTabSz="914400" rtl="0" eaLnBrk="1" latinLnBrk="0" hangingPunct="1">
                  <a:lnSpc>
                    <a:spcPct val="12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Khmer OS Siemreap" panose="02000500000000020004" pitchFamily="2" charset="0"/>
                    <a:ea typeface="+mn-ea"/>
                    <a:cs typeface="Khmer OS Siemreap" panose="02000500000000020004" pitchFamily="2" charset="0"/>
                  </a:defRPr>
                </a:lvl4pPr>
                <a:lvl5pPr marL="2057400" indent="-228600" algn="l" defTabSz="914400" rtl="0" eaLnBrk="1" latinLnBrk="0" hangingPunct="1">
                  <a:lnSpc>
                    <a:spcPct val="12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Khmer OS Siemreap" panose="02000500000000020004" pitchFamily="2" charset="0"/>
                    <a:ea typeface="+mn-ea"/>
                    <a:cs typeface="Khmer OS Siemreap" panose="02000500000000020004" pitchFamily="2" charset="0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38100" indent="0" algn="ctr">
                  <a:lnSpc>
                    <a:spcPct val="150000"/>
                  </a:lnSpc>
                  <a:spcBef>
                    <a:spcPts val="0"/>
                  </a:spcBef>
                  <a:buClr>
                    <a:srgbClr val="0070C0"/>
                  </a:buClr>
                  <a:buSzPct val="150000"/>
                  <a:buNone/>
                </a:pPr>
                <a:r>
                  <a:rPr lang="km-KH" sz="1400" b="1" dirty="0">
                    <a:solidFill>
                      <a:srgbClr val="7030A0"/>
                    </a:solidFill>
                  </a:rPr>
                  <a:t>តំណាង </a:t>
                </a:r>
                <a:r>
                  <a:rPr lang="ca-ES" sz="1400" b="1" dirty="0">
                    <a:solidFill>
                      <a:srgbClr val="7030A0"/>
                    </a:solidFill>
                    <a:latin typeface="Daytona Condensed" panose="020B0506030503040204" pitchFamily="34" charset="0"/>
                    <a:cs typeface="+mn-cs"/>
                  </a:rPr>
                  <a:t>TG </a:t>
                </a:r>
                <a:endParaRPr lang="km-KH" sz="1400" b="1" dirty="0">
                  <a:solidFill>
                    <a:srgbClr val="7030A0"/>
                  </a:solidFill>
                  <a:latin typeface="Daytona Condensed" panose="020B0506030503040204" pitchFamily="34" charset="0"/>
                  <a:cs typeface="+mn-cs"/>
                </a:endParaRPr>
              </a:p>
            </p:txBody>
          </p:sp>
        </p:grpSp>
        <p:grpSp>
          <p:nvGrpSpPr>
            <p:cNvPr id="60" name="Group 59">
              <a:extLst>
                <a:ext uri="{FF2B5EF4-FFF2-40B4-BE49-F238E27FC236}">
                  <a16:creationId xmlns:a16="http://schemas.microsoft.com/office/drawing/2014/main" id="{66FAB614-19B8-9C2B-0B35-65F260B67790}"/>
                </a:ext>
              </a:extLst>
            </p:cNvPr>
            <p:cNvGrpSpPr/>
            <p:nvPr/>
          </p:nvGrpSpPr>
          <p:grpSpPr>
            <a:xfrm>
              <a:off x="2849094" y="5176848"/>
              <a:ext cx="1959246" cy="1296864"/>
              <a:chOff x="7299215" y="4384960"/>
              <a:chExt cx="2638321" cy="1663640"/>
            </a:xfrm>
          </p:grpSpPr>
          <p:grpSp>
            <p:nvGrpSpPr>
              <p:cNvPr id="72" name="Group 71">
                <a:extLst>
                  <a:ext uri="{FF2B5EF4-FFF2-40B4-BE49-F238E27FC236}">
                    <a16:creationId xmlns:a16="http://schemas.microsoft.com/office/drawing/2014/main" id="{B15286A3-1A1E-CBCB-3292-145C2F1DC305}"/>
                  </a:ext>
                </a:extLst>
              </p:cNvPr>
              <p:cNvGrpSpPr/>
              <p:nvPr/>
            </p:nvGrpSpPr>
            <p:grpSpPr>
              <a:xfrm>
                <a:off x="8011070" y="4384960"/>
                <a:ext cx="1431475" cy="1363672"/>
                <a:chOff x="6655744" y="4160681"/>
                <a:chExt cx="1431475" cy="1363672"/>
              </a:xfrm>
            </p:grpSpPr>
            <p:sp>
              <p:nvSpPr>
                <p:cNvPr id="74" name="Oval 73">
                  <a:extLst>
                    <a:ext uri="{FF2B5EF4-FFF2-40B4-BE49-F238E27FC236}">
                      <a16:creationId xmlns:a16="http://schemas.microsoft.com/office/drawing/2014/main" id="{12C7220B-117C-8F0F-9FDA-B5628B0F7584}"/>
                    </a:ext>
                  </a:extLst>
                </p:cNvPr>
                <p:cNvSpPr/>
                <p:nvPr/>
              </p:nvSpPr>
              <p:spPr>
                <a:xfrm>
                  <a:off x="6655744" y="4160681"/>
                  <a:ext cx="1431475" cy="1363672"/>
                </a:xfrm>
                <a:prstGeom prst="ellipse">
                  <a:avLst/>
                </a:prstGeom>
                <a:solidFill>
                  <a:schemeClr val="tx2">
                    <a:lumMod val="20000"/>
                    <a:lumOff val="8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>
                    <a:latin typeface="Daytona Condensed" panose="020B0506030503040204" pitchFamily="34" charset="0"/>
                  </a:endParaRPr>
                </a:p>
              </p:txBody>
            </p:sp>
            <p:pic>
              <p:nvPicPr>
                <p:cNvPr id="75" name="Picture 74">
                  <a:extLst>
                    <a:ext uri="{FF2B5EF4-FFF2-40B4-BE49-F238E27FC236}">
                      <a16:creationId xmlns:a16="http://schemas.microsoft.com/office/drawing/2014/main" id="{1BC7D2B8-B848-8F94-AA13-5A61D1447160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0">
                  <a:duotone>
                    <a:schemeClr val="accent1">
                      <a:shade val="45000"/>
                      <a:satMod val="135000"/>
                    </a:schemeClr>
                    <a:prstClr val="white"/>
                  </a:duotone>
                </a:blip>
                <a:stretch>
                  <a:fillRect/>
                </a:stretch>
              </p:blipFill>
              <p:spPr>
                <a:xfrm>
                  <a:off x="7040572" y="4361688"/>
                  <a:ext cx="681868" cy="960995"/>
                </a:xfrm>
                <a:prstGeom prst="rect">
                  <a:avLst/>
                </a:prstGeom>
              </p:spPr>
            </p:pic>
          </p:grpSp>
          <p:sp>
            <p:nvSpPr>
              <p:cNvPr id="73" name="Text Placeholder 2">
                <a:extLst>
                  <a:ext uri="{FF2B5EF4-FFF2-40B4-BE49-F238E27FC236}">
                    <a16:creationId xmlns:a16="http://schemas.microsoft.com/office/drawing/2014/main" id="{EB29B222-E216-126A-CA25-98C60F16AC66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7299215" y="5563648"/>
                <a:ext cx="2638321" cy="484952"/>
              </a:xfrm>
              <a:prstGeom prst="rect">
                <a:avLst/>
              </a:prstGeom>
            </p:spPr>
            <p:txBody>
              <a:bodyPr>
                <a:noAutofit/>
              </a:bodyPr>
              <a:lstStyle>
                <a:lvl1pPr marL="228600" indent="-228600" algn="l" defTabSz="914400" rtl="0" eaLnBrk="1" latinLnBrk="0" hangingPunct="1">
                  <a:lnSpc>
                    <a:spcPct val="12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2800" kern="1200">
                    <a:solidFill>
                      <a:schemeClr val="tx1"/>
                    </a:solidFill>
                    <a:latin typeface="Khmer OS Siemreap" panose="02000500000000020004" pitchFamily="2" charset="0"/>
                    <a:ea typeface="+mn-ea"/>
                    <a:cs typeface="Khmer OS Siemreap" panose="02000500000000020004" pitchFamily="2" charset="0"/>
                  </a:defRPr>
                </a:lvl1pPr>
                <a:lvl2pPr marL="685800" indent="-228600" algn="l" defTabSz="914400" rtl="0" eaLnBrk="1" latinLnBrk="0" hangingPunct="1">
                  <a:lnSpc>
                    <a:spcPct val="12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400" kern="1200">
                    <a:solidFill>
                      <a:schemeClr val="tx1"/>
                    </a:solidFill>
                    <a:latin typeface="Khmer OS Siemreap" panose="02000500000000020004" pitchFamily="2" charset="0"/>
                    <a:ea typeface="+mn-ea"/>
                    <a:cs typeface="Khmer OS Siemreap" panose="02000500000000020004" pitchFamily="2" charset="0"/>
                  </a:defRPr>
                </a:lvl2pPr>
                <a:lvl3pPr marL="1143000" indent="-228600" algn="l" defTabSz="914400" rtl="0" eaLnBrk="1" latinLnBrk="0" hangingPunct="1">
                  <a:lnSpc>
                    <a:spcPct val="12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Khmer OS Siemreap" panose="02000500000000020004" pitchFamily="2" charset="0"/>
                    <a:ea typeface="+mn-ea"/>
                    <a:cs typeface="Khmer OS Siemreap" panose="02000500000000020004" pitchFamily="2" charset="0"/>
                  </a:defRPr>
                </a:lvl3pPr>
                <a:lvl4pPr marL="1600200" indent="-228600" algn="l" defTabSz="914400" rtl="0" eaLnBrk="1" latinLnBrk="0" hangingPunct="1">
                  <a:lnSpc>
                    <a:spcPct val="12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Khmer OS Siemreap" panose="02000500000000020004" pitchFamily="2" charset="0"/>
                    <a:ea typeface="+mn-ea"/>
                    <a:cs typeface="Khmer OS Siemreap" panose="02000500000000020004" pitchFamily="2" charset="0"/>
                  </a:defRPr>
                </a:lvl4pPr>
                <a:lvl5pPr marL="2057400" indent="-228600" algn="l" defTabSz="914400" rtl="0" eaLnBrk="1" latinLnBrk="0" hangingPunct="1">
                  <a:lnSpc>
                    <a:spcPct val="12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Khmer OS Siemreap" panose="02000500000000020004" pitchFamily="2" charset="0"/>
                    <a:ea typeface="+mn-ea"/>
                    <a:cs typeface="Khmer OS Siemreap" panose="02000500000000020004" pitchFamily="2" charset="0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38100" indent="0" algn="ctr">
                  <a:lnSpc>
                    <a:spcPct val="150000"/>
                  </a:lnSpc>
                  <a:spcBef>
                    <a:spcPts val="0"/>
                  </a:spcBef>
                  <a:buClr>
                    <a:srgbClr val="0070C0"/>
                  </a:buClr>
                  <a:buSzPct val="150000"/>
                  <a:buNone/>
                </a:pPr>
                <a:r>
                  <a:rPr lang="km-KH" sz="1400" b="1" dirty="0">
                    <a:solidFill>
                      <a:srgbClr val="7030A0"/>
                    </a:solidFill>
                  </a:rPr>
                  <a:t>តំណាង </a:t>
                </a:r>
                <a:r>
                  <a:rPr lang="ca-ES" sz="1400" b="1" dirty="0">
                    <a:solidFill>
                      <a:srgbClr val="7030A0"/>
                    </a:solidFill>
                    <a:latin typeface="Daytona Condensed" panose="020B0506030503040204" pitchFamily="34" charset="0"/>
                    <a:cs typeface="+mn-cs"/>
                  </a:rPr>
                  <a:t>PWID/PWUD </a:t>
                </a:r>
                <a:endParaRPr lang="km-KH" sz="1400" b="1" dirty="0">
                  <a:solidFill>
                    <a:srgbClr val="7030A0"/>
                  </a:solidFill>
                  <a:latin typeface="Daytona Condensed" panose="020B0506030503040204" pitchFamily="34" charset="0"/>
                  <a:cs typeface="+mn-cs"/>
                </a:endParaRPr>
              </a:p>
            </p:txBody>
          </p:sp>
        </p:grpSp>
        <p:grpSp>
          <p:nvGrpSpPr>
            <p:cNvPr id="61" name="Group 60">
              <a:extLst>
                <a:ext uri="{FF2B5EF4-FFF2-40B4-BE49-F238E27FC236}">
                  <a16:creationId xmlns:a16="http://schemas.microsoft.com/office/drawing/2014/main" id="{A8F800A3-14CB-D062-B78A-CCFB619F4929}"/>
                </a:ext>
              </a:extLst>
            </p:cNvPr>
            <p:cNvGrpSpPr/>
            <p:nvPr/>
          </p:nvGrpSpPr>
          <p:grpSpPr>
            <a:xfrm>
              <a:off x="802031" y="3513930"/>
              <a:ext cx="1661342" cy="1410268"/>
              <a:chOff x="320580" y="4388319"/>
              <a:chExt cx="2237164" cy="1809116"/>
            </a:xfrm>
          </p:grpSpPr>
          <p:grpSp>
            <p:nvGrpSpPr>
              <p:cNvPr id="67" name="Group 66">
                <a:extLst>
                  <a:ext uri="{FF2B5EF4-FFF2-40B4-BE49-F238E27FC236}">
                    <a16:creationId xmlns:a16="http://schemas.microsoft.com/office/drawing/2014/main" id="{0F49E00E-618B-E6A9-665C-E339E896CC40}"/>
                  </a:ext>
                </a:extLst>
              </p:cNvPr>
              <p:cNvGrpSpPr/>
              <p:nvPr/>
            </p:nvGrpSpPr>
            <p:grpSpPr>
              <a:xfrm>
                <a:off x="710001" y="4388319"/>
                <a:ext cx="1431475" cy="1363672"/>
                <a:chOff x="-185217" y="4152322"/>
                <a:chExt cx="1431475" cy="1363672"/>
              </a:xfrm>
            </p:grpSpPr>
            <p:sp>
              <p:nvSpPr>
                <p:cNvPr id="69" name="Oval 68">
                  <a:extLst>
                    <a:ext uri="{FF2B5EF4-FFF2-40B4-BE49-F238E27FC236}">
                      <a16:creationId xmlns:a16="http://schemas.microsoft.com/office/drawing/2014/main" id="{0A5CAF0C-1DC2-6274-5271-0E610986A6B2}"/>
                    </a:ext>
                  </a:extLst>
                </p:cNvPr>
                <p:cNvSpPr/>
                <p:nvPr/>
              </p:nvSpPr>
              <p:spPr>
                <a:xfrm>
                  <a:off x="-185217" y="4152322"/>
                  <a:ext cx="1431475" cy="1363672"/>
                </a:xfrm>
                <a:prstGeom prst="ellipse">
                  <a:avLst/>
                </a:prstGeom>
                <a:solidFill>
                  <a:srgbClr val="FF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>
                    <a:latin typeface="Daytona Condensed" panose="020B0506030503040204" pitchFamily="34" charset="0"/>
                  </a:endParaRPr>
                </a:p>
              </p:txBody>
            </p:sp>
            <p:pic>
              <p:nvPicPr>
                <p:cNvPr id="70" name="Graphic 69" descr="Man">
                  <a:extLst>
                    <a:ext uri="{FF2B5EF4-FFF2-40B4-BE49-F238E27FC236}">
                      <a16:creationId xmlns:a16="http://schemas.microsoft.com/office/drawing/2014/main" id="{7FC45E0A-FE13-840F-FFCE-EB409C1C6D75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1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12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-142745" y="4378974"/>
                  <a:ext cx="946431" cy="946431"/>
                </a:xfrm>
                <a:prstGeom prst="rect">
                  <a:avLst/>
                </a:prstGeom>
              </p:spPr>
            </p:pic>
            <p:pic>
              <p:nvPicPr>
                <p:cNvPr id="71" name="Picture 70">
                  <a:extLst>
                    <a:ext uri="{FF2B5EF4-FFF2-40B4-BE49-F238E27FC236}">
                      <a16:creationId xmlns:a16="http://schemas.microsoft.com/office/drawing/2014/main" id="{588E61BB-5E7A-A1DF-0B6C-9DC151667ECE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3" cstate="print">
                  <a:lum bright="70000" contrast="-70000"/>
                  <a:extLst>
                    <a:ext uri="{BEBA8EAE-BF5A-486C-A8C5-ECC9F3942E4B}">
                      <a14:imgProps xmlns:a14="http://schemas.microsoft.com/office/drawing/2010/main">
                        <a14:imgLayer r:embed="rId14">
                          <a14:imgEffect>
                            <a14:artisticPhotocopy/>
                          </a14:imgEffect>
                          <a14:imgEffect>
                            <a14:colorTemperature colorTemp="5300"/>
                          </a14:imgEffect>
                        </a14:imgLayer>
                      </a14:imgProps>
                    </a:ex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314960" y="4497379"/>
                  <a:ext cx="848030" cy="689614"/>
                </a:xfrm>
                <a:prstGeom prst="rect">
                  <a:avLst/>
                </a:prstGeom>
              </p:spPr>
            </p:pic>
          </p:grpSp>
          <p:sp>
            <p:nvSpPr>
              <p:cNvPr id="68" name="Text Placeholder 2">
                <a:extLst>
                  <a:ext uri="{FF2B5EF4-FFF2-40B4-BE49-F238E27FC236}">
                    <a16:creationId xmlns:a16="http://schemas.microsoft.com/office/drawing/2014/main" id="{557D9896-5C69-188F-B124-4C8124052B33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320580" y="5615482"/>
                <a:ext cx="2237164" cy="581953"/>
              </a:xfrm>
              <a:prstGeom prst="rect">
                <a:avLst/>
              </a:prstGeom>
            </p:spPr>
            <p:txBody>
              <a:bodyPr>
                <a:noAutofit/>
              </a:bodyPr>
              <a:lstStyle>
                <a:lvl1pPr marL="228600" indent="-228600" algn="l" defTabSz="914400" rtl="0" eaLnBrk="1" latinLnBrk="0" hangingPunct="1">
                  <a:lnSpc>
                    <a:spcPct val="12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2800" kern="1200">
                    <a:solidFill>
                      <a:schemeClr val="tx1"/>
                    </a:solidFill>
                    <a:latin typeface="Khmer OS Siemreap" panose="02000500000000020004" pitchFamily="2" charset="0"/>
                    <a:ea typeface="+mn-ea"/>
                    <a:cs typeface="Khmer OS Siemreap" panose="02000500000000020004" pitchFamily="2" charset="0"/>
                  </a:defRPr>
                </a:lvl1pPr>
                <a:lvl2pPr marL="685800" indent="-228600" algn="l" defTabSz="914400" rtl="0" eaLnBrk="1" latinLnBrk="0" hangingPunct="1">
                  <a:lnSpc>
                    <a:spcPct val="12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400" kern="1200">
                    <a:solidFill>
                      <a:schemeClr val="tx1"/>
                    </a:solidFill>
                    <a:latin typeface="Khmer OS Siemreap" panose="02000500000000020004" pitchFamily="2" charset="0"/>
                    <a:ea typeface="+mn-ea"/>
                    <a:cs typeface="Khmer OS Siemreap" panose="02000500000000020004" pitchFamily="2" charset="0"/>
                  </a:defRPr>
                </a:lvl2pPr>
                <a:lvl3pPr marL="1143000" indent="-228600" algn="l" defTabSz="914400" rtl="0" eaLnBrk="1" latinLnBrk="0" hangingPunct="1">
                  <a:lnSpc>
                    <a:spcPct val="12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Khmer OS Siemreap" panose="02000500000000020004" pitchFamily="2" charset="0"/>
                    <a:ea typeface="+mn-ea"/>
                    <a:cs typeface="Khmer OS Siemreap" panose="02000500000000020004" pitchFamily="2" charset="0"/>
                  </a:defRPr>
                </a:lvl3pPr>
                <a:lvl4pPr marL="1600200" indent="-228600" algn="l" defTabSz="914400" rtl="0" eaLnBrk="1" latinLnBrk="0" hangingPunct="1">
                  <a:lnSpc>
                    <a:spcPct val="12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Khmer OS Siemreap" panose="02000500000000020004" pitchFamily="2" charset="0"/>
                    <a:ea typeface="+mn-ea"/>
                    <a:cs typeface="Khmer OS Siemreap" panose="02000500000000020004" pitchFamily="2" charset="0"/>
                  </a:defRPr>
                </a:lvl4pPr>
                <a:lvl5pPr marL="2057400" indent="-228600" algn="l" defTabSz="914400" rtl="0" eaLnBrk="1" latinLnBrk="0" hangingPunct="1">
                  <a:lnSpc>
                    <a:spcPct val="12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Khmer OS Siemreap" panose="02000500000000020004" pitchFamily="2" charset="0"/>
                    <a:ea typeface="+mn-ea"/>
                    <a:cs typeface="Khmer OS Siemreap" panose="02000500000000020004" pitchFamily="2" charset="0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38100" indent="0" algn="ctr">
                  <a:lnSpc>
                    <a:spcPct val="150000"/>
                  </a:lnSpc>
                  <a:spcBef>
                    <a:spcPts val="0"/>
                  </a:spcBef>
                  <a:buClr>
                    <a:srgbClr val="0070C0"/>
                  </a:buClr>
                  <a:buSzPct val="150000"/>
                  <a:buNone/>
                </a:pPr>
                <a:r>
                  <a:rPr lang="km-KH" sz="1400" b="1" dirty="0">
                    <a:solidFill>
                      <a:srgbClr val="7030A0"/>
                    </a:solidFill>
                  </a:rPr>
                  <a:t>តំណាង </a:t>
                </a:r>
                <a:r>
                  <a:rPr lang="ca-ES" sz="1400" b="1" dirty="0">
                    <a:solidFill>
                      <a:srgbClr val="7030A0"/>
                    </a:solidFill>
                    <a:latin typeface="Daytona Condensed" panose="020B0506030503040204" pitchFamily="34" charset="0"/>
                    <a:cs typeface="+mn-cs"/>
                  </a:rPr>
                  <a:t>PLHIVs </a:t>
                </a:r>
                <a:endParaRPr lang="km-KH" sz="1400" b="1" dirty="0">
                  <a:solidFill>
                    <a:srgbClr val="7030A0"/>
                  </a:solidFill>
                  <a:latin typeface="Daytona Condensed" panose="020B0506030503040204" pitchFamily="34" charset="0"/>
                  <a:cs typeface="+mn-cs"/>
                </a:endParaRPr>
              </a:p>
            </p:txBody>
          </p:sp>
        </p:grpSp>
        <p:grpSp>
          <p:nvGrpSpPr>
            <p:cNvPr id="62" name="Group 61">
              <a:extLst>
                <a:ext uri="{FF2B5EF4-FFF2-40B4-BE49-F238E27FC236}">
                  <a16:creationId xmlns:a16="http://schemas.microsoft.com/office/drawing/2014/main" id="{8C6C542C-4755-F332-0D15-F89CEC21192F}"/>
                </a:ext>
              </a:extLst>
            </p:cNvPr>
            <p:cNvGrpSpPr/>
            <p:nvPr/>
          </p:nvGrpSpPr>
          <p:grpSpPr>
            <a:xfrm>
              <a:off x="1730732" y="1272519"/>
              <a:ext cx="1405540" cy="1283325"/>
              <a:chOff x="2386950" y="4384961"/>
              <a:chExt cx="1892701" cy="1646272"/>
            </a:xfrm>
          </p:grpSpPr>
          <p:grpSp>
            <p:nvGrpSpPr>
              <p:cNvPr id="63" name="Group 62">
                <a:extLst>
                  <a:ext uri="{FF2B5EF4-FFF2-40B4-BE49-F238E27FC236}">
                    <a16:creationId xmlns:a16="http://schemas.microsoft.com/office/drawing/2014/main" id="{BC4DBCC5-44F6-D6E1-EE29-9B793B2F2936}"/>
                  </a:ext>
                </a:extLst>
              </p:cNvPr>
              <p:cNvGrpSpPr/>
              <p:nvPr/>
            </p:nvGrpSpPr>
            <p:grpSpPr>
              <a:xfrm>
                <a:off x="2544660" y="4384961"/>
                <a:ext cx="1431475" cy="1363672"/>
                <a:chOff x="1638144" y="4115500"/>
                <a:chExt cx="1431475" cy="1363672"/>
              </a:xfrm>
            </p:grpSpPr>
            <p:sp>
              <p:nvSpPr>
                <p:cNvPr id="65" name="Oval 64">
                  <a:extLst>
                    <a:ext uri="{FF2B5EF4-FFF2-40B4-BE49-F238E27FC236}">
                      <a16:creationId xmlns:a16="http://schemas.microsoft.com/office/drawing/2014/main" id="{F12C2EDE-3922-A76F-FC4A-8ADF331F5508}"/>
                    </a:ext>
                  </a:extLst>
                </p:cNvPr>
                <p:cNvSpPr/>
                <p:nvPr/>
              </p:nvSpPr>
              <p:spPr>
                <a:xfrm>
                  <a:off x="1638144" y="4115500"/>
                  <a:ext cx="1431475" cy="1363672"/>
                </a:xfrm>
                <a:prstGeom prst="ellipse">
                  <a:avLst/>
                </a:prstGeom>
                <a:solidFill>
                  <a:schemeClr val="tx2">
                    <a:lumMod val="20000"/>
                    <a:lumOff val="8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>
                    <a:latin typeface="Daytona Condensed" panose="020B0506030503040204" pitchFamily="34" charset="0"/>
                  </a:endParaRPr>
                </a:p>
              </p:txBody>
            </p:sp>
            <p:pic>
              <p:nvPicPr>
                <p:cNvPr id="66" name="Picture 65">
                  <a:extLst>
                    <a:ext uri="{FF2B5EF4-FFF2-40B4-BE49-F238E27FC236}">
                      <a16:creationId xmlns:a16="http://schemas.microsoft.com/office/drawing/2014/main" id="{C1BACADB-661A-673B-7290-B3A8EFEF9A05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5">
                  <a:alphaModFix/>
                  <a:duotone>
                    <a:schemeClr val="accent1">
                      <a:shade val="45000"/>
                      <a:satMod val="135000"/>
                    </a:schemeClr>
                    <a:prstClr val="white"/>
                  </a:duotone>
                </a:blip>
                <a:stretch>
                  <a:fillRect/>
                </a:stretch>
              </p:blipFill>
              <p:spPr>
                <a:xfrm>
                  <a:off x="1876163" y="4318199"/>
                  <a:ext cx="1068010" cy="1020130"/>
                </a:xfrm>
                <a:prstGeom prst="rect">
                  <a:avLst/>
                </a:prstGeom>
              </p:spPr>
            </p:pic>
          </p:grpSp>
          <p:sp>
            <p:nvSpPr>
              <p:cNvPr id="64" name="Text Placeholder 2">
                <a:extLst>
                  <a:ext uri="{FF2B5EF4-FFF2-40B4-BE49-F238E27FC236}">
                    <a16:creationId xmlns:a16="http://schemas.microsoft.com/office/drawing/2014/main" id="{9437F2F3-C7BC-BBC6-6EB9-D1BD494AE6E9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2386950" y="5677921"/>
                <a:ext cx="1892701" cy="353312"/>
              </a:xfrm>
              <a:prstGeom prst="rect">
                <a:avLst/>
              </a:prstGeom>
            </p:spPr>
            <p:txBody>
              <a:bodyPr>
                <a:noAutofit/>
              </a:bodyPr>
              <a:lstStyle>
                <a:lvl1pPr marL="228600" indent="-228600" algn="l" defTabSz="914400" rtl="0" eaLnBrk="1" latinLnBrk="0" hangingPunct="1">
                  <a:lnSpc>
                    <a:spcPct val="12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2800" kern="1200">
                    <a:solidFill>
                      <a:schemeClr val="tx1"/>
                    </a:solidFill>
                    <a:latin typeface="Khmer OS Siemreap" panose="02000500000000020004" pitchFamily="2" charset="0"/>
                    <a:ea typeface="+mn-ea"/>
                    <a:cs typeface="Khmer OS Siemreap" panose="02000500000000020004" pitchFamily="2" charset="0"/>
                  </a:defRPr>
                </a:lvl1pPr>
                <a:lvl2pPr marL="685800" indent="-228600" algn="l" defTabSz="914400" rtl="0" eaLnBrk="1" latinLnBrk="0" hangingPunct="1">
                  <a:lnSpc>
                    <a:spcPct val="12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400" kern="1200">
                    <a:solidFill>
                      <a:schemeClr val="tx1"/>
                    </a:solidFill>
                    <a:latin typeface="Khmer OS Siemreap" panose="02000500000000020004" pitchFamily="2" charset="0"/>
                    <a:ea typeface="+mn-ea"/>
                    <a:cs typeface="Khmer OS Siemreap" panose="02000500000000020004" pitchFamily="2" charset="0"/>
                  </a:defRPr>
                </a:lvl2pPr>
                <a:lvl3pPr marL="1143000" indent="-228600" algn="l" defTabSz="914400" rtl="0" eaLnBrk="1" latinLnBrk="0" hangingPunct="1">
                  <a:lnSpc>
                    <a:spcPct val="12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Khmer OS Siemreap" panose="02000500000000020004" pitchFamily="2" charset="0"/>
                    <a:ea typeface="+mn-ea"/>
                    <a:cs typeface="Khmer OS Siemreap" panose="02000500000000020004" pitchFamily="2" charset="0"/>
                  </a:defRPr>
                </a:lvl3pPr>
                <a:lvl4pPr marL="1600200" indent="-228600" algn="l" defTabSz="914400" rtl="0" eaLnBrk="1" latinLnBrk="0" hangingPunct="1">
                  <a:lnSpc>
                    <a:spcPct val="12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Khmer OS Siemreap" panose="02000500000000020004" pitchFamily="2" charset="0"/>
                    <a:ea typeface="+mn-ea"/>
                    <a:cs typeface="Khmer OS Siemreap" panose="02000500000000020004" pitchFamily="2" charset="0"/>
                  </a:defRPr>
                </a:lvl4pPr>
                <a:lvl5pPr marL="2057400" indent="-228600" algn="l" defTabSz="914400" rtl="0" eaLnBrk="1" latinLnBrk="0" hangingPunct="1">
                  <a:lnSpc>
                    <a:spcPct val="12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Khmer OS Siemreap" panose="02000500000000020004" pitchFamily="2" charset="0"/>
                    <a:ea typeface="+mn-ea"/>
                    <a:cs typeface="Khmer OS Siemreap" panose="02000500000000020004" pitchFamily="2" charset="0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38100" indent="0" algn="ctr">
                  <a:lnSpc>
                    <a:spcPct val="150000"/>
                  </a:lnSpc>
                  <a:spcBef>
                    <a:spcPts val="0"/>
                  </a:spcBef>
                  <a:buClr>
                    <a:srgbClr val="0070C0"/>
                  </a:buClr>
                  <a:buSzPct val="150000"/>
                  <a:buNone/>
                </a:pPr>
                <a:r>
                  <a:rPr lang="km-KH" sz="1400" b="1" dirty="0">
                    <a:solidFill>
                      <a:srgbClr val="7030A0"/>
                    </a:solidFill>
                  </a:rPr>
                  <a:t>តំណាង</a:t>
                </a:r>
                <a:r>
                  <a:rPr lang="en-US" sz="1400" b="1" dirty="0">
                    <a:solidFill>
                      <a:srgbClr val="7030A0"/>
                    </a:solidFill>
                    <a:latin typeface="Daytona Condensed" panose="020B0506030503040204" pitchFamily="34" charset="0"/>
                    <a:cs typeface="+mn-cs"/>
                  </a:rPr>
                  <a:t> </a:t>
                </a:r>
                <a:r>
                  <a:rPr lang="ca-ES" sz="1400" b="1" dirty="0">
                    <a:solidFill>
                      <a:srgbClr val="7030A0"/>
                    </a:solidFill>
                    <a:latin typeface="Daytona Condensed" panose="020B0506030503040204" pitchFamily="34" charset="0"/>
                    <a:cs typeface="+mn-cs"/>
                  </a:rPr>
                  <a:t>EW </a:t>
                </a:r>
                <a:endParaRPr lang="km-KH" sz="1400" b="1" dirty="0">
                  <a:solidFill>
                    <a:srgbClr val="7030A0"/>
                  </a:solidFill>
                  <a:latin typeface="Daytona Condensed" panose="020B0506030503040204" pitchFamily="34" charset="0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04842921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B47097E-BED9-B178-88C4-74A60D63D9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16364" y="198582"/>
            <a:ext cx="9737436" cy="900256"/>
          </a:xfrm>
        </p:spPr>
        <p:txBody>
          <a:bodyPr/>
          <a:lstStyle/>
          <a:p>
            <a:r>
              <a:rPr lang="km-KH" sz="3600" dirty="0">
                <a:solidFill>
                  <a:srgbClr val="002060"/>
                </a:solidFill>
              </a:rPr>
              <a:t>ការផ្តួចផ្តើម</a:t>
            </a:r>
            <a:r>
              <a:rPr lang="en-US" sz="3600" dirty="0">
                <a:solidFill>
                  <a:srgbClr val="002060"/>
                </a:solidFill>
              </a:rPr>
              <a:t> </a:t>
            </a:r>
            <a:r>
              <a:rPr lang="km-KH" sz="3600" dirty="0">
                <a:solidFill>
                  <a:srgbClr val="002060"/>
                </a:solidFill>
              </a:rPr>
              <a:t>និងរៀបចំអនុវត្ត </a:t>
            </a:r>
            <a:r>
              <a:rPr lang="en-US" sz="3600" dirty="0" err="1">
                <a:solidFill>
                  <a:srgbClr val="002060"/>
                </a:solidFill>
              </a:rPr>
              <a:t>CLM</a:t>
            </a:r>
            <a:endParaRPr lang="en-US" sz="3600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C9DDB68-A595-E9D1-8859-F18923169AC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278465" y="5124063"/>
            <a:ext cx="7563272" cy="1034899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pPr marR="0" lvl="0" defTabSz="151196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km-KH" sz="1400" b="1" dirty="0">
                <a:solidFill>
                  <a:schemeClr val="tx1"/>
                </a:solidFill>
              </a:rPr>
              <a:t>លេខាធិការដ្ឋាន៖</a:t>
            </a:r>
            <a:r>
              <a:rPr lang="km-KH" sz="1400" dirty="0">
                <a:solidFill>
                  <a:schemeClr val="tx1"/>
                </a:solidFill>
              </a:rPr>
              <a:t> សម្របសម្រួលដោយ</a:t>
            </a:r>
            <a:r>
              <a:rPr lang="en-US" sz="1400" dirty="0">
                <a:solidFill>
                  <a:schemeClr val="tx1"/>
                </a:solidFill>
              </a:rPr>
              <a:t> </a:t>
            </a:r>
            <a:r>
              <a:rPr lang="km-KH" sz="1400" dirty="0">
                <a:solidFill>
                  <a:schemeClr val="tx1"/>
                </a:solidFill>
              </a:rPr>
              <a:t>អេច អេ ស៊ី ស៊ី (</a:t>
            </a:r>
            <a:r>
              <a:rPr lang="en-US" sz="1400" dirty="0">
                <a:solidFill>
                  <a:schemeClr val="tx1"/>
                </a:solidFill>
              </a:rPr>
              <a:t>HACC</a:t>
            </a:r>
            <a:r>
              <a:rPr lang="km-KH" sz="1400" dirty="0">
                <a:solidFill>
                  <a:schemeClr val="tx1"/>
                </a:solidFill>
              </a:rPr>
              <a:t>)</a:t>
            </a:r>
            <a:r>
              <a:rPr lang="en-US" sz="1400" dirty="0">
                <a:solidFill>
                  <a:schemeClr val="tx1"/>
                </a:solidFill>
              </a:rPr>
              <a:t> </a:t>
            </a:r>
          </a:p>
          <a:p>
            <a:pPr marR="0" lvl="0" defTabSz="151196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km-KH" sz="1400" b="1" dirty="0">
                <a:solidFill>
                  <a:schemeClr val="tx1"/>
                </a:solidFill>
              </a:rPr>
              <a:t>គាំទ្របចេ្ចកទេស៖</a:t>
            </a:r>
            <a:r>
              <a:rPr lang="km-KH" sz="1400" dirty="0">
                <a:solidFill>
                  <a:schemeClr val="tx1"/>
                </a:solidFill>
              </a:rPr>
              <a:t> </a:t>
            </a:r>
            <a:r>
              <a:rPr lang="en-US" sz="1400" dirty="0">
                <a:solidFill>
                  <a:schemeClr val="tx1"/>
                </a:solidFill>
              </a:rPr>
              <a:t>EpiC-FHI360 and </a:t>
            </a:r>
            <a:r>
              <a:rPr lang="en-US" sz="1400" dirty="0" err="1">
                <a:solidFill>
                  <a:schemeClr val="tx1"/>
                </a:solidFill>
              </a:rPr>
              <a:t>UNAIDS</a:t>
            </a:r>
            <a:endParaRPr lang="km-KH" sz="1400" dirty="0">
              <a:solidFill>
                <a:schemeClr val="tx1"/>
              </a:solidFill>
            </a:endParaRPr>
          </a:p>
          <a:p>
            <a:pPr marR="0" lvl="0" defTabSz="151196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km-KH" sz="1400" b="1" dirty="0">
                <a:solidFill>
                  <a:schemeClr val="tx1"/>
                </a:solidFill>
              </a:rPr>
              <a:t>ចូលរួមសម្របសម្រួល៖</a:t>
            </a:r>
            <a:r>
              <a:rPr lang="km-KH" sz="1400" dirty="0">
                <a:solidFill>
                  <a:schemeClr val="tx1"/>
                </a:solidFill>
              </a:rPr>
              <a:t> </a:t>
            </a:r>
            <a:r>
              <a:rPr lang="en-US" sz="1400" dirty="0" err="1">
                <a:solidFill>
                  <a:schemeClr val="tx1"/>
                </a:solidFill>
              </a:rPr>
              <a:t>NAA</a:t>
            </a:r>
            <a:r>
              <a:rPr lang="en-US" sz="1400" dirty="0">
                <a:solidFill>
                  <a:schemeClr val="tx1"/>
                </a:solidFill>
              </a:rPr>
              <a:t>, </a:t>
            </a:r>
            <a:r>
              <a:rPr lang="en-US" sz="1400" dirty="0" err="1">
                <a:solidFill>
                  <a:schemeClr val="tx1"/>
                </a:solidFill>
              </a:rPr>
              <a:t>NCHADS</a:t>
            </a:r>
            <a:r>
              <a:rPr lang="en-US" sz="1400" dirty="0">
                <a:solidFill>
                  <a:schemeClr val="tx1"/>
                </a:solidFill>
              </a:rPr>
              <a:t>, KHANA, </a:t>
            </a:r>
            <a:r>
              <a:rPr lang="en-US" sz="1400" dirty="0" err="1">
                <a:solidFill>
                  <a:schemeClr val="tx1"/>
                </a:solidFill>
              </a:rPr>
              <a:t>RHAC</a:t>
            </a:r>
            <a:r>
              <a:rPr lang="en-US" sz="1400" dirty="0">
                <a:solidFill>
                  <a:schemeClr val="tx1"/>
                </a:solidFill>
              </a:rPr>
              <a:t>, MHC, </a:t>
            </a:r>
            <a:r>
              <a:rPr lang="en-US" sz="1400" dirty="0" err="1">
                <a:solidFill>
                  <a:schemeClr val="tx1"/>
                </a:solidFill>
              </a:rPr>
              <a:t>MHSS</a:t>
            </a:r>
            <a:r>
              <a:rPr lang="en-US" sz="1400" dirty="0">
                <a:solidFill>
                  <a:schemeClr val="tx1"/>
                </a:solidFill>
              </a:rPr>
              <a:t>, CWPD, </a:t>
            </a:r>
            <a:r>
              <a:rPr lang="en-US" sz="1400" dirty="0" err="1">
                <a:solidFill>
                  <a:schemeClr val="tx1"/>
                </a:solidFill>
              </a:rPr>
              <a:t>AHF</a:t>
            </a:r>
            <a:r>
              <a:rPr lang="en-US" sz="1400" dirty="0">
                <a:solidFill>
                  <a:schemeClr val="tx1"/>
                </a:solidFill>
              </a:rPr>
              <a:t>, CR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371A03F-E82A-8CA5-ED21-A35BE0866FB1}"/>
              </a:ext>
            </a:extLst>
          </p:cNvPr>
          <p:cNvSpPr txBox="1"/>
          <p:nvPr/>
        </p:nvSpPr>
        <p:spPr>
          <a:xfrm>
            <a:off x="236022" y="4440565"/>
            <a:ext cx="1005007" cy="461665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algn="ctr"/>
            <a:r>
              <a:rPr lang="en-US" sz="2400" dirty="0">
                <a:solidFill>
                  <a:srgbClr val="0070C0"/>
                </a:solidFill>
                <a:latin typeface="Impact" panose="020B0806030902050204" pitchFamily="34" charset="0"/>
              </a:rPr>
              <a:t>2020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5855B58-413F-189E-21FA-DA966674503D}"/>
              </a:ext>
            </a:extLst>
          </p:cNvPr>
          <p:cNvSpPr txBox="1"/>
          <p:nvPr/>
        </p:nvSpPr>
        <p:spPr>
          <a:xfrm>
            <a:off x="2346804" y="2057102"/>
            <a:ext cx="2591211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2400" dirty="0">
                <a:solidFill>
                  <a:srgbClr val="0070C0"/>
                </a:solidFill>
                <a:latin typeface="Impact" panose="020B0806030902050204" pitchFamily="34" charset="0"/>
              </a:rPr>
              <a:t>2021 – Mid 2022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E0A2C11-61B0-CAD8-A32B-C75A78DE82A5}"/>
              </a:ext>
            </a:extLst>
          </p:cNvPr>
          <p:cNvSpPr txBox="1"/>
          <p:nvPr/>
        </p:nvSpPr>
        <p:spPr>
          <a:xfrm>
            <a:off x="7676705" y="862616"/>
            <a:ext cx="1357283" cy="461665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algn="ctr"/>
            <a:r>
              <a:rPr lang="en-US" sz="2400" dirty="0">
                <a:solidFill>
                  <a:srgbClr val="0070C0"/>
                </a:solidFill>
                <a:latin typeface="Impact" panose="020B0806030902050204" pitchFamily="34" charset="0"/>
              </a:rPr>
              <a:t>End 2022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AA896FE-05AE-2982-E173-D4CE87BDBDB5}"/>
              </a:ext>
            </a:extLst>
          </p:cNvPr>
          <p:cNvSpPr txBox="1"/>
          <p:nvPr/>
        </p:nvSpPr>
        <p:spPr>
          <a:xfrm>
            <a:off x="350263" y="4800898"/>
            <a:ext cx="3699280" cy="13580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marR="0" lvl="0" indent="-285750" defTabSz="151196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km-KH" sz="1400" dirty="0">
                <a:solidFill>
                  <a:schemeClr val="tx1"/>
                </a:solidFill>
                <a:latin typeface="Khmer OS Siemreap" panose="02000500000000020004" pitchFamily="2" charset="0"/>
                <a:cs typeface="Khmer OS Siemreap" panose="02000500000000020004" pitchFamily="2" charset="0"/>
              </a:rPr>
              <a:t>ប្រមូលទិន្នន័យតាមរយៈការចុះតាមសហគមន៍ ដោយប្រើប្រាស់ទម្រងជាក្រដាស (ជួបបានត្រឹមតែចំនួនតិចតួច)</a:t>
            </a:r>
          </a:p>
          <a:p>
            <a:pPr marL="285750" marR="0" lvl="0" indent="-285750" defTabSz="151196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km-KH" sz="1400" dirty="0">
                <a:solidFill>
                  <a:schemeClr val="tx1"/>
                </a:solidFill>
                <a:latin typeface="Khmer OS Siemreap" panose="02000500000000020004" pitchFamily="2" charset="0"/>
                <a:cs typeface="Khmer OS Siemreap" panose="02000500000000020004" pitchFamily="2" charset="0"/>
              </a:rPr>
              <a:t>មិនមានយន្តការច្បាស់លាស់ក្នុងការអនុវត្ត</a:t>
            </a:r>
            <a:r>
              <a:rPr lang="en-US" sz="1400" dirty="0">
                <a:solidFill>
                  <a:schemeClr val="tx1"/>
                </a:solidFill>
                <a:latin typeface="Khmer OS Siemreap" panose="02000500000000020004" pitchFamily="2" charset="0"/>
                <a:cs typeface="Khmer OS Siemreap" panose="02000500000000020004" pitchFamily="2" charset="0"/>
              </a:rPr>
              <a:t> CLM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32B316AD-829E-8C59-AF65-2717B303792D}"/>
              </a:ext>
            </a:extLst>
          </p:cNvPr>
          <p:cNvSpPr txBox="1"/>
          <p:nvPr/>
        </p:nvSpPr>
        <p:spPr>
          <a:xfrm>
            <a:off x="2493705" y="2519210"/>
            <a:ext cx="5183000" cy="20043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marR="0" lvl="0" indent="-285750" defTabSz="151196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km-KH" sz="1400" dirty="0">
                <a:solidFill>
                  <a:schemeClr val="tx1"/>
                </a:solidFill>
                <a:latin typeface="Khmer OS Siemreap" panose="02000500000000020004" pitchFamily="2" charset="0"/>
                <a:cs typeface="Khmer OS Siemreap" panose="02000500000000020004" pitchFamily="2" charset="0"/>
              </a:rPr>
              <a:t>ចាប់តាំងពីដើមឆ្នាំ២០២១ ការប្រមូលព័ត៌មានត្រឡប់ពីសហគមន៍ត្រូវបានសម្រួលជាប្រព័ន្ធផ្តល់ព័ត៌មានត្រឡប់តាមអនឡាញនិងជាប្រចាំ</a:t>
            </a:r>
          </a:p>
          <a:p>
            <a:pPr marL="285750" marR="0" lvl="0" indent="-285750" defTabSz="151196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400" dirty="0">
                <a:solidFill>
                  <a:schemeClr val="tx1"/>
                </a:solidFill>
                <a:latin typeface="Khmer OS Siemreap" panose="02000500000000020004" pitchFamily="2" charset="0"/>
                <a:cs typeface="Khmer OS Siemreap" panose="02000500000000020004" pitchFamily="2" charset="0"/>
              </a:rPr>
              <a:t>Dashboard </a:t>
            </a:r>
            <a:r>
              <a:rPr lang="km-KH" sz="1400" dirty="0">
                <a:solidFill>
                  <a:schemeClr val="tx1"/>
                </a:solidFill>
                <a:latin typeface="Khmer OS Siemreap" panose="02000500000000020004" pitchFamily="2" charset="0"/>
                <a:cs typeface="Khmer OS Siemreap" panose="02000500000000020004" pitchFamily="2" charset="0"/>
              </a:rPr>
              <a:t>បានរៀបច</a:t>
            </a:r>
            <a:r>
              <a:rPr lang="km-KH" sz="1400" dirty="0">
                <a:latin typeface="Khmer OS Siemreap" panose="02000500000000020004" pitchFamily="2" charset="0"/>
                <a:cs typeface="Khmer OS Siemreap" panose="02000500000000020004" pitchFamily="2" charset="0"/>
              </a:rPr>
              <a:t>ំនិងបានប្រើប្រាស់</a:t>
            </a:r>
            <a:endParaRPr lang="en-US" sz="1400" dirty="0">
              <a:solidFill>
                <a:schemeClr val="tx1"/>
              </a:solidFill>
              <a:latin typeface="Khmer OS Siemreap" panose="02000500000000020004" pitchFamily="2" charset="0"/>
              <a:cs typeface="Khmer OS Siemreap" panose="02000500000000020004" pitchFamily="2" charset="0"/>
            </a:endParaRPr>
          </a:p>
          <a:p>
            <a:pPr marL="285750" marR="0" lvl="0" indent="-285750" defTabSz="151196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km-KH" sz="1400" b="1" dirty="0">
                <a:solidFill>
                  <a:schemeClr val="tx1"/>
                </a:solidFill>
                <a:latin typeface="Khmer OS Siemreap" panose="02000500000000020004" pitchFamily="2" charset="0"/>
                <a:cs typeface="Khmer OS Siemreap" panose="02000500000000020004" pitchFamily="2" charset="0"/>
              </a:rPr>
              <a:t>អ្នកអនុវត្តផ្ទាល់៖</a:t>
            </a:r>
            <a:r>
              <a:rPr lang="km-KH" sz="1400" dirty="0">
                <a:solidFill>
                  <a:schemeClr val="tx1"/>
                </a:solidFill>
                <a:latin typeface="Khmer OS Siemreap" panose="02000500000000020004" pitchFamily="2" charset="0"/>
                <a:cs typeface="Khmer OS Siemreap" panose="02000500000000020004" pitchFamily="2" charset="0"/>
              </a:rPr>
              <a:t> តំណាង និងសមាជិកសហគមន៍នៃវេទិកាហ្វុនប៉ាម និងឌីហ្វុនប៉ាម </a:t>
            </a:r>
            <a:r>
              <a:rPr lang="en-US" sz="1400" dirty="0">
                <a:solidFill>
                  <a:schemeClr val="tx1"/>
                </a:solidFill>
                <a:latin typeface="Khmer OS Siemreap" panose="02000500000000020004" pitchFamily="2" charset="0"/>
                <a:cs typeface="Khmer OS Siemreap" panose="02000500000000020004" pitchFamily="2" charset="0"/>
              </a:rPr>
              <a:t>(FoNPAMs</a:t>
            </a:r>
            <a:r>
              <a:rPr lang="km-KH" sz="1400" dirty="0">
                <a:solidFill>
                  <a:schemeClr val="tx1"/>
                </a:solidFill>
                <a:latin typeface="Khmer OS Siemreap" panose="02000500000000020004" pitchFamily="2" charset="0"/>
                <a:cs typeface="Khmer OS Siemreap" panose="02000500000000020004" pitchFamily="2" charset="0"/>
              </a:rPr>
              <a:t> </a:t>
            </a:r>
            <a:r>
              <a:rPr lang="en-US" sz="1400" dirty="0">
                <a:solidFill>
                  <a:schemeClr val="tx1"/>
                </a:solidFill>
                <a:latin typeface="Khmer OS Siemreap" panose="02000500000000020004" pitchFamily="2" charset="0"/>
                <a:cs typeface="Khmer OS Siemreap" panose="02000500000000020004" pitchFamily="2" charset="0"/>
              </a:rPr>
              <a:t>/ DFoNPAMs)</a:t>
            </a:r>
            <a:r>
              <a:rPr lang="km-KH" sz="1400" dirty="0">
                <a:solidFill>
                  <a:schemeClr val="tx1"/>
                </a:solidFill>
                <a:latin typeface="Khmer OS Siemreap" panose="02000500000000020004" pitchFamily="2" charset="0"/>
                <a:cs typeface="Khmer OS Siemreap" panose="02000500000000020004" pitchFamily="2" charset="0"/>
              </a:rPr>
              <a:t> រួមមាន </a:t>
            </a:r>
            <a:r>
              <a:rPr lang="en-US" sz="1400" dirty="0">
                <a:solidFill>
                  <a:schemeClr val="tx1"/>
                </a:solidFill>
                <a:latin typeface="Khmer OS Siemreap" panose="02000500000000020004" pitchFamily="2" charset="0"/>
                <a:cs typeface="Khmer OS Siemreap" panose="02000500000000020004" pitchFamily="2" charset="0"/>
              </a:rPr>
              <a:t>PLHIV, MSM, TG, FEW, PWID/PWUD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B9FB8553-4A90-9C59-61F6-9EAE92CA9BDC}"/>
              </a:ext>
            </a:extLst>
          </p:cNvPr>
          <p:cNvSpPr txBox="1"/>
          <p:nvPr/>
        </p:nvSpPr>
        <p:spPr>
          <a:xfrm>
            <a:off x="7790629" y="1279711"/>
            <a:ext cx="3725303" cy="23275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marR="0" lvl="0" indent="-285750" defTabSz="151196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km-KH" sz="1400" b="1" dirty="0">
                <a:latin typeface="Khmer OS Siemreap" panose="02000500000000020004" pitchFamily="2" charset="0"/>
                <a:cs typeface="Khmer OS Siemreap" panose="02000500000000020004" pitchFamily="2" charset="0"/>
              </a:rPr>
              <a:t>បន្តដឹកនាំដោយ</a:t>
            </a:r>
            <a:r>
              <a:rPr lang="km-KH" sz="1400" b="1" dirty="0">
                <a:solidFill>
                  <a:schemeClr val="tx1"/>
                </a:solidFill>
                <a:latin typeface="Khmer OS Siemreap" panose="02000500000000020004" pitchFamily="2" charset="0"/>
                <a:cs typeface="Khmer OS Siemreap" panose="02000500000000020004" pitchFamily="2" charset="0"/>
              </a:rPr>
              <a:t>៖</a:t>
            </a:r>
            <a:r>
              <a:rPr lang="km-KH" sz="1400" dirty="0">
                <a:solidFill>
                  <a:schemeClr val="tx1"/>
                </a:solidFill>
                <a:latin typeface="Khmer OS Siemreap" panose="02000500000000020004" pitchFamily="2" charset="0"/>
                <a:cs typeface="Khmer OS Siemreap" panose="02000500000000020004" pitchFamily="2" charset="0"/>
              </a:rPr>
              <a:t> តំណាង និងសមាជិកសហគមន៍នៃវេទិកាហ្វុនប៉ាម និងឌីហ្វុនប៉ាម</a:t>
            </a:r>
          </a:p>
          <a:p>
            <a:pPr marL="285750" marR="0" lvl="0" indent="-285750" defTabSz="151196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km-KH" sz="1400" dirty="0">
                <a:latin typeface="Khmer OS Siemreap" panose="02000500000000020004" pitchFamily="2" charset="0"/>
                <a:cs typeface="Khmer OS Siemreap" panose="02000500000000020004" pitchFamily="2" charset="0"/>
              </a:rPr>
              <a:t>កែសម្រួលឧបករណ៍ប្រមូលទិន្នន័យដែលឆ្លើយតបនិងអ្វីដែលចង់បានបច្ចុប្បន្ន ងាយយល់ និងមានភាពងាយស្រួល</a:t>
            </a:r>
          </a:p>
          <a:p>
            <a:pPr marL="285750" marR="0" lvl="0" indent="-285750" defTabSz="151196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km-KH" sz="1400" dirty="0">
                <a:solidFill>
                  <a:schemeClr val="tx1"/>
                </a:solidFill>
                <a:latin typeface="Khmer OS Siemreap" panose="02000500000000020004" pitchFamily="2" charset="0"/>
                <a:cs typeface="Khmer OS Siemreap" panose="02000500000000020004" pitchFamily="2" charset="0"/>
              </a:rPr>
              <a:t>កែសម្រ</a:t>
            </a:r>
            <a:r>
              <a:rPr lang="km-KH" sz="1400" dirty="0">
                <a:latin typeface="Khmer OS Siemreap" panose="02000500000000020004" pitchFamily="2" charset="0"/>
                <a:cs typeface="Khmer OS Siemreap" panose="02000500000000020004" pitchFamily="2" charset="0"/>
              </a:rPr>
              <a:t>យលប្រព័ន្ធទិន្នន័យ និងធ្វើបច្ចុប្បន្នភាព</a:t>
            </a:r>
            <a:r>
              <a:rPr lang="en-US" sz="1400" dirty="0">
                <a:latin typeface="Khmer OS Siemreap" panose="02000500000000020004" pitchFamily="2" charset="0"/>
                <a:cs typeface="Khmer OS Siemreap" panose="02000500000000020004" pitchFamily="2" charset="0"/>
              </a:rPr>
              <a:t>Dashboard</a:t>
            </a:r>
            <a:endParaRPr lang="en-US" sz="1400" dirty="0">
              <a:solidFill>
                <a:schemeClr val="tx1"/>
              </a:solidFill>
              <a:latin typeface="Khmer OS Siemreap" panose="02000500000000020004" pitchFamily="2" charset="0"/>
              <a:cs typeface="Khmer OS Siemreap" panose="02000500000000020004" pitchFamily="2" charset="0"/>
            </a:endParaRPr>
          </a:p>
        </p:txBody>
      </p:sp>
      <p:cxnSp>
        <p:nvCxnSpPr>
          <p:cNvPr id="18" name="Connector: Curved 17">
            <a:extLst>
              <a:ext uri="{FF2B5EF4-FFF2-40B4-BE49-F238E27FC236}">
                <a16:creationId xmlns:a16="http://schemas.microsoft.com/office/drawing/2014/main" id="{55CA04FF-41E5-658C-B411-9577F38DD206}"/>
              </a:ext>
            </a:extLst>
          </p:cNvPr>
          <p:cNvCxnSpPr>
            <a:stCxn id="6" idx="0"/>
            <a:endCxn id="9" idx="1"/>
          </p:cNvCxnSpPr>
          <p:nvPr/>
        </p:nvCxnSpPr>
        <p:spPr>
          <a:xfrm rot="5400000" flipH="1" flipV="1">
            <a:off x="466350" y="2560111"/>
            <a:ext cx="2152630" cy="1608278"/>
          </a:xfrm>
          <a:prstGeom prst="curvedConnector2">
            <a:avLst/>
          </a:prstGeom>
          <a:ln w="38100">
            <a:solidFill>
              <a:schemeClr val="bg1">
                <a:lumMod val="50000"/>
              </a:schemeClr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Connector: Curved 19">
            <a:extLst>
              <a:ext uri="{FF2B5EF4-FFF2-40B4-BE49-F238E27FC236}">
                <a16:creationId xmlns:a16="http://schemas.microsoft.com/office/drawing/2014/main" id="{B37AF97F-25C3-EEEB-298D-A7F817025F1F}"/>
              </a:ext>
            </a:extLst>
          </p:cNvPr>
          <p:cNvCxnSpPr>
            <a:stCxn id="9" idx="3"/>
            <a:endCxn id="10" idx="1"/>
          </p:cNvCxnSpPr>
          <p:nvPr/>
        </p:nvCxnSpPr>
        <p:spPr>
          <a:xfrm flipV="1">
            <a:off x="4938015" y="1093449"/>
            <a:ext cx="2738690" cy="1194486"/>
          </a:xfrm>
          <a:prstGeom prst="curvedConnector3">
            <a:avLst/>
          </a:prstGeom>
          <a:ln w="38100">
            <a:solidFill>
              <a:schemeClr val="bg1">
                <a:lumMod val="50000"/>
              </a:schemeClr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3988260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  <p:bldP spid="10" grpId="0" animBg="1"/>
      <p:bldP spid="15" grpId="0"/>
      <p:bldP spid="16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B47097E-BED9-B178-88C4-74A60D63D9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16364" y="198582"/>
            <a:ext cx="9737436" cy="900256"/>
          </a:xfrm>
        </p:spPr>
        <p:txBody>
          <a:bodyPr/>
          <a:lstStyle/>
          <a:p>
            <a:r>
              <a:rPr lang="km-KH" sz="3600" dirty="0">
                <a:solidFill>
                  <a:srgbClr val="002060"/>
                </a:solidFill>
              </a:rPr>
              <a:t>ការផ្តួចផ្តើម</a:t>
            </a:r>
            <a:r>
              <a:rPr lang="en-US" sz="3600" dirty="0">
                <a:solidFill>
                  <a:srgbClr val="002060"/>
                </a:solidFill>
              </a:rPr>
              <a:t> </a:t>
            </a:r>
            <a:r>
              <a:rPr lang="km-KH" sz="3600" dirty="0">
                <a:solidFill>
                  <a:srgbClr val="002060"/>
                </a:solidFill>
              </a:rPr>
              <a:t>និងរៀបចំអនុវត្ត </a:t>
            </a:r>
            <a:r>
              <a:rPr lang="en-US" sz="3600" dirty="0" err="1">
                <a:solidFill>
                  <a:srgbClr val="002060"/>
                </a:solidFill>
              </a:rPr>
              <a:t>CLM</a:t>
            </a:r>
            <a:endParaRPr lang="en-US" sz="3600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F5057E7-4743-5995-E993-3A557E7C5FF0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73546" t="22573" r="6232" b="62995"/>
          <a:stretch/>
        </p:blipFill>
        <p:spPr>
          <a:xfrm>
            <a:off x="4616124" y="3470413"/>
            <a:ext cx="1840029" cy="884528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75C4CFFA-EE7F-DF58-7A6A-A62723EBDDA2}"/>
              </a:ext>
            </a:extLst>
          </p:cNvPr>
          <p:cNvSpPr txBox="1"/>
          <p:nvPr/>
        </p:nvSpPr>
        <p:spPr>
          <a:xfrm>
            <a:off x="4715894" y="1368865"/>
            <a:ext cx="195777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m-KH" b="1" dirty="0">
                <a:solidFill>
                  <a:srgbClr val="FF0000"/>
                </a:solidFill>
                <a:latin typeface="Khmer OS Content" pitchFamily="2" charset="0"/>
                <a:cs typeface="Khmer OS Content" pitchFamily="2" charset="0"/>
              </a:rPr>
              <a:t>១. រៀបចំផែនការ</a:t>
            </a:r>
            <a:endParaRPr lang="en-US" b="1" dirty="0">
              <a:solidFill>
                <a:srgbClr val="FF0000"/>
              </a:solidFill>
              <a:latin typeface="Khmer OS Content" pitchFamily="2" charset="0"/>
              <a:cs typeface="Khmer OS Content" pitchFamily="2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04EF3CB-D78A-9DBB-8230-BE0E8C45A98B}"/>
              </a:ext>
            </a:extLst>
          </p:cNvPr>
          <p:cNvSpPr txBox="1"/>
          <p:nvPr/>
        </p:nvSpPr>
        <p:spPr>
          <a:xfrm>
            <a:off x="8264625" y="2882351"/>
            <a:ext cx="3011808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km-KH" b="1" dirty="0">
                <a:solidFill>
                  <a:srgbClr val="FF0000"/>
                </a:solidFill>
                <a:latin typeface="Khmer OS Content" pitchFamily="2" charset="0"/>
                <a:cs typeface="Khmer OS Content" pitchFamily="2" charset="0"/>
              </a:rPr>
              <a:t>២. ប្រមូលព័ត៌មានពីសហគមន៍</a:t>
            </a:r>
            <a:endParaRPr lang="en-US" b="1" dirty="0">
              <a:solidFill>
                <a:srgbClr val="FF0000"/>
              </a:solidFill>
              <a:latin typeface="Khmer OS Content" pitchFamily="2" charset="0"/>
              <a:cs typeface="Khmer OS Content" pitchFamily="2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74F6A2B-8DD5-27C1-1186-934BEF1E9BE0}"/>
              </a:ext>
            </a:extLst>
          </p:cNvPr>
          <p:cNvSpPr txBox="1"/>
          <p:nvPr/>
        </p:nvSpPr>
        <p:spPr>
          <a:xfrm>
            <a:off x="4598436" y="5128987"/>
            <a:ext cx="219269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km-KH" b="1" dirty="0">
                <a:solidFill>
                  <a:srgbClr val="FF0000"/>
                </a:solidFill>
                <a:latin typeface="Khmer OS Content" pitchFamily="2" charset="0"/>
                <a:cs typeface="Khmer OS Content" pitchFamily="2" charset="0"/>
              </a:rPr>
              <a:t>៣. ជួបជាមួយអ្នកផ្តល់សេវាពាក់ព័ន្ធ</a:t>
            </a:r>
            <a:endParaRPr lang="en-US" b="1" dirty="0">
              <a:solidFill>
                <a:srgbClr val="FF0000"/>
              </a:solidFill>
              <a:latin typeface="Khmer OS Content" pitchFamily="2" charset="0"/>
              <a:cs typeface="Khmer OS Content" pitchFamily="2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79DF439F-8769-30E9-724F-767948127E12}"/>
              </a:ext>
            </a:extLst>
          </p:cNvPr>
          <p:cNvSpPr txBox="1"/>
          <p:nvPr/>
        </p:nvSpPr>
        <p:spPr>
          <a:xfrm>
            <a:off x="1491449" y="3000754"/>
            <a:ext cx="208840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km-KH" b="1" dirty="0">
                <a:solidFill>
                  <a:srgbClr val="FF0000"/>
                </a:solidFill>
                <a:latin typeface="Khmer OS Content" pitchFamily="2" charset="0"/>
                <a:cs typeface="Khmer OS Content" pitchFamily="2" charset="0"/>
              </a:rPr>
              <a:t>៤. អនុវត្ត ផែនការ​និងពិនិត្យតាមដាន</a:t>
            </a:r>
            <a:endParaRPr lang="en-US" b="1" dirty="0">
              <a:solidFill>
                <a:srgbClr val="FF0000"/>
              </a:solidFill>
              <a:latin typeface="Khmer OS Content" pitchFamily="2" charset="0"/>
              <a:cs typeface="Khmer OS Content" pitchFamily="2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F4DABF5-8A90-1643-6E1E-BA3CE11DE109}"/>
              </a:ext>
            </a:extLst>
          </p:cNvPr>
          <p:cNvSpPr txBox="1"/>
          <p:nvPr/>
        </p:nvSpPr>
        <p:spPr>
          <a:xfrm>
            <a:off x="4660787" y="1744354"/>
            <a:ext cx="2292464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m-KH" sz="1200" dirty="0">
                <a:latin typeface="Khmer OS Content" pitchFamily="2" charset="0"/>
                <a:cs typeface="Khmer OS Content" pitchFamily="2" charset="0"/>
              </a:rPr>
              <a:t>ក្រុមអ្នកសម្របសម្រួល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m-KH" sz="1200" dirty="0">
                <a:latin typeface="Khmer OS Content" pitchFamily="2" charset="0"/>
                <a:cs typeface="Khmer OS Content" pitchFamily="2" charset="0"/>
              </a:rPr>
              <a:t>ក្រុមការងារបច្ចេកទេស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m-KH" sz="1200" dirty="0">
                <a:latin typeface="Khmer OS Content" pitchFamily="2" charset="0"/>
                <a:cs typeface="Khmer OS Content" pitchFamily="2" charset="0"/>
              </a:rPr>
              <a:t>កំណត់ទំហំការងារ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m-KH" sz="1200" dirty="0">
                <a:latin typeface="Khmer OS Content" pitchFamily="2" charset="0"/>
                <a:cs typeface="Khmer OS Content" pitchFamily="2" charset="0"/>
              </a:rPr>
              <a:t>រៀបចំឧបករណ៍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m-KH" sz="1200" dirty="0">
                <a:latin typeface="Khmer OS Content" pitchFamily="2" charset="0"/>
                <a:cs typeface="Khmer OS Content" pitchFamily="2" charset="0"/>
              </a:rPr>
              <a:t>បែងចែកអ្នកទទួលខុសត្រូវ</a:t>
            </a:r>
            <a:endParaRPr lang="en-US" sz="1200" dirty="0">
              <a:latin typeface="Khmer OS Content" pitchFamily="2" charset="0"/>
              <a:cs typeface="Khmer OS Content" pitchFamily="2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13E0191-652C-A382-0A1C-1D28F6FDBB2D}"/>
              </a:ext>
            </a:extLst>
          </p:cNvPr>
          <p:cNvSpPr txBox="1"/>
          <p:nvPr/>
        </p:nvSpPr>
        <p:spPr>
          <a:xfrm>
            <a:off x="8548100" y="3429000"/>
            <a:ext cx="2728333" cy="14542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m-KH" sz="1200" dirty="0">
                <a:latin typeface="Khmer OS Content" pitchFamily="2" charset="0"/>
                <a:cs typeface="Khmer OS Content" pitchFamily="2" charset="0"/>
              </a:rPr>
              <a:t>ផ្តល់សំណួរតាមរយៈតំណភ្ជាប់(លីង)ទៅដល់ក្រុមគោលដៅ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m-KH" sz="1200" dirty="0">
                <a:latin typeface="Khmer OS Content" pitchFamily="2" charset="0"/>
                <a:cs typeface="Khmer OS Content" pitchFamily="2" charset="0"/>
              </a:rPr>
              <a:t>តាមដានការបំពេញសំណួរ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m-KH" sz="1200" dirty="0">
                <a:latin typeface="Khmer OS Content" pitchFamily="2" charset="0"/>
                <a:cs typeface="Khmer OS Content" pitchFamily="2" charset="0"/>
              </a:rPr>
              <a:t>ជំរុញអោយមានការចែកចាយលីងបន្ត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m-KH" sz="1200" dirty="0">
                <a:latin typeface="Khmer OS Content" pitchFamily="2" charset="0"/>
                <a:cs typeface="Khmer OS Content" pitchFamily="2" charset="0"/>
              </a:rPr>
              <a:t>រៀបចំតារាងលទ្ធផលសហគមន៍</a:t>
            </a:r>
            <a:endParaRPr lang="en-US" sz="1200" dirty="0">
              <a:latin typeface="Khmer OS Content" pitchFamily="2" charset="0"/>
              <a:cs typeface="Khmer OS Content" pitchFamily="2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F9151F81-E49B-1723-4C9D-C5D862AAB733}"/>
              </a:ext>
            </a:extLst>
          </p:cNvPr>
          <p:cNvSpPr txBox="1"/>
          <p:nvPr/>
        </p:nvSpPr>
        <p:spPr>
          <a:xfrm>
            <a:off x="4037079" y="6012843"/>
            <a:ext cx="3427350" cy="5355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km-KH" sz="1200" dirty="0">
                <a:latin typeface="Khmer OS Content" pitchFamily="2" charset="0"/>
                <a:cs typeface="Khmer OS Content" pitchFamily="2" charset="0"/>
              </a:rPr>
              <a:t>ពិនិត្យ និងប្រើតារាងលទ្ធផលសហគមន៍ដើម្បីស្នើដល់អ្នកពាក់ព័ន្ធឱ្យមានការផ្លាស់ប្តូរឱ្យកាន់តែល្អប្រសើរ</a:t>
            </a:r>
            <a:endParaRPr lang="en-US" sz="1200" dirty="0">
              <a:latin typeface="Khmer OS Content" pitchFamily="2" charset="0"/>
              <a:cs typeface="Khmer OS Content" pitchFamily="2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E2833945-CE9B-5C34-9DFA-F664111B700F}"/>
              </a:ext>
            </a:extLst>
          </p:cNvPr>
          <p:cNvSpPr txBox="1"/>
          <p:nvPr/>
        </p:nvSpPr>
        <p:spPr>
          <a:xfrm>
            <a:off x="1293736" y="3833798"/>
            <a:ext cx="3032232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m-KH" sz="1200" dirty="0">
                <a:latin typeface="Khmer OS Content" pitchFamily="2" charset="0"/>
                <a:cs typeface="Khmer OS Content" pitchFamily="2" charset="0"/>
              </a:rPr>
              <a:t>តាមដាន​ និងពិនិត្យសេវាពាក់ព័ន្ធថាមាន ការកែលម្អហើយឬនៅ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km-KH" sz="1200" dirty="0">
                <a:latin typeface="Khmer OS Content" pitchFamily="2" charset="0"/>
                <a:cs typeface="Khmer OS Content" pitchFamily="2" charset="0"/>
              </a:rPr>
              <a:t>ពិនិត្យទិន្នន័យ (តារាងលទ្ធផល) ដើម្បីវាស់វែងនិងតាមដានការអនុវត្ត</a:t>
            </a:r>
            <a:endParaRPr lang="en-US" sz="1200" dirty="0">
              <a:latin typeface="Khmer OS Content" pitchFamily="2" charset="0"/>
              <a:cs typeface="Khmer OS Content" pitchFamily="2" charset="0"/>
            </a:endParaRPr>
          </a:p>
        </p:txBody>
      </p:sp>
      <p:pic>
        <p:nvPicPr>
          <p:cNvPr id="14" name="Picture 13" descr="Shape&#10;&#10;Description automatically generated with low confidence">
            <a:extLst>
              <a:ext uri="{FF2B5EF4-FFF2-40B4-BE49-F238E27FC236}">
                <a16:creationId xmlns:a16="http://schemas.microsoft.com/office/drawing/2014/main" id="{27124FC0-3A45-816A-7AC2-6BE22DAD9AAB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463038" y="3000754"/>
            <a:ext cx="1028411" cy="1028411"/>
          </a:xfrm>
          <a:prstGeom prst="rect">
            <a:avLst/>
          </a:prstGeom>
        </p:spPr>
      </p:pic>
      <p:pic>
        <p:nvPicPr>
          <p:cNvPr id="15" name="Picture 14" descr="Shape&#10;&#10;Description automatically generated with low confidence">
            <a:extLst>
              <a:ext uri="{FF2B5EF4-FFF2-40B4-BE49-F238E27FC236}">
                <a16:creationId xmlns:a16="http://schemas.microsoft.com/office/drawing/2014/main" id="{67F15D8D-BC18-4FBA-2D37-8E8DA961FBE9}"/>
              </a:ext>
            </a:extLst>
          </p:cNvPr>
          <p:cNvPicPr>
            <a:picLocks noChangeAspect="1"/>
          </p:cNvPicPr>
          <p:nvPr/>
        </p:nvPicPr>
        <p:blipFill>
          <a:blip r:embed="rId4"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3816085" y="1206672"/>
            <a:ext cx="800039" cy="800039"/>
          </a:xfrm>
          <a:prstGeom prst="rect">
            <a:avLst/>
          </a:prstGeom>
        </p:spPr>
      </p:pic>
      <p:pic>
        <p:nvPicPr>
          <p:cNvPr id="16" name="Graphic 15" descr="Group outline">
            <a:extLst>
              <a:ext uri="{FF2B5EF4-FFF2-40B4-BE49-F238E27FC236}">
                <a16:creationId xmlns:a16="http://schemas.microsoft.com/office/drawing/2014/main" id="{3D4E4065-F78C-3846-E7D1-864ECB73ADB8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418183" y="2853186"/>
            <a:ext cx="914400" cy="914400"/>
          </a:xfrm>
          <a:prstGeom prst="rect">
            <a:avLst/>
          </a:prstGeom>
        </p:spPr>
      </p:pic>
      <p:pic>
        <p:nvPicPr>
          <p:cNvPr id="17" name="Picture 16" descr="Shape&#10;&#10;Description automatically generated with low confidence">
            <a:extLst>
              <a:ext uri="{FF2B5EF4-FFF2-40B4-BE49-F238E27FC236}">
                <a16:creationId xmlns:a16="http://schemas.microsoft.com/office/drawing/2014/main" id="{812C77BE-DCDE-0C28-B6AD-1638F935B27B}"/>
              </a:ext>
            </a:extLst>
          </p:cNvPr>
          <p:cNvPicPr>
            <a:picLocks noChangeAspect="1"/>
          </p:cNvPicPr>
          <p:nvPr/>
        </p:nvPicPr>
        <p:blipFill>
          <a:blip r:embed="rId7"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3892824" y="5239133"/>
            <a:ext cx="773710" cy="773710"/>
          </a:xfrm>
          <a:prstGeom prst="rect">
            <a:avLst/>
          </a:prstGeom>
        </p:spPr>
      </p:pic>
      <p:pic>
        <p:nvPicPr>
          <p:cNvPr id="18" name="Picture 17" descr="Shape&#10;&#10;Description automatically generated with low confidence">
            <a:extLst>
              <a:ext uri="{FF2B5EF4-FFF2-40B4-BE49-F238E27FC236}">
                <a16:creationId xmlns:a16="http://schemas.microsoft.com/office/drawing/2014/main" id="{3760BAD2-D8DC-FCCC-761F-4057DB47C230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 flipH="1">
            <a:off x="2487623" y="1833976"/>
            <a:ext cx="1157754" cy="1284978"/>
          </a:xfrm>
          <a:prstGeom prst="rect">
            <a:avLst/>
          </a:prstGeom>
        </p:spPr>
      </p:pic>
      <p:pic>
        <p:nvPicPr>
          <p:cNvPr id="19" name="Picture 18" descr="Shape&#10;&#10;Description automatically generated with low confidence">
            <a:extLst>
              <a:ext uri="{FF2B5EF4-FFF2-40B4-BE49-F238E27FC236}">
                <a16:creationId xmlns:a16="http://schemas.microsoft.com/office/drawing/2014/main" id="{9321E4C5-9660-0483-77FD-AB27F7902CC4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 rot="5400000" flipH="1">
            <a:off x="7016863" y="1633951"/>
            <a:ext cx="1157754" cy="1284978"/>
          </a:xfrm>
          <a:prstGeom prst="rect">
            <a:avLst/>
          </a:prstGeom>
        </p:spPr>
      </p:pic>
      <p:pic>
        <p:nvPicPr>
          <p:cNvPr id="20" name="Picture 19" descr="Shape&#10;&#10;Description automatically generated with low confidence">
            <a:extLst>
              <a:ext uri="{FF2B5EF4-FFF2-40B4-BE49-F238E27FC236}">
                <a16:creationId xmlns:a16="http://schemas.microsoft.com/office/drawing/2014/main" id="{FF5A775B-8DCC-E750-D4B4-B0E488819E50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 rot="10601259" flipH="1">
            <a:off x="7296506" y="4568558"/>
            <a:ext cx="1157754" cy="1284978"/>
          </a:xfrm>
          <a:prstGeom prst="rect">
            <a:avLst/>
          </a:prstGeom>
        </p:spPr>
      </p:pic>
      <p:pic>
        <p:nvPicPr>
          <p:cNvPr id="21" name="Picture 20" descr="Shape&#10;&#10;Description automatically generated with low confidence">
            <a:extLst>
              <a:ext uri="{FF2B5EF4-FFF2-40B4-BE49-F238E27FC236}">
                <a16:creationId xmlns:a16="http://schemas.microsoft.com/office/drawing/2014/main" id="{15D4AC46-7B18-DC9E-51CB-653A115DEFAC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 rot="16200000" flipH="1">
            <a:off x="2604839" y="4804773"/>
            <a:ext cx="1157754" cy="1284978"/>
          </a:xfrm>
          <a:prstGeom prst="rect">
            <a:avLst/>
          </a:prstGeom>
        </p:spPr>
      </p:pic>
      <p:grpSp>
        <p:nvGrpSpPr>
          <p:cNvPr id="22" name="Group 21">
            <a:extLst>
              <a:ext uri="{FF2B5EF4-FFF2-40B4-BE49-F238E27FC236}">
                <a16:creationId xmlns:a16="http://schemas.microsoft.com/office/drawing/2014/main" id="{F3742CE4-2BCE-0236-E914-6B38BDE04615}"/>
              </a:ext>
            </a:extLst>
          </p:cNvPr>
          <p:cNvGrpSpPr/>
          <p:nvPr/>
        </p:nvGrpSpPr>
        <p:grpSpPr>
          <a:xfrm>
            <a:off x="7316737" y="3697288"/>
            <a:ext cx="1025176" cy="559833"/>
            <a:chOff x="8778338" y="1483120"/>
            <a:chExt cx="1691352" cy="923622"/>
          </a:xfrm>
        </p:grpSpPr>
        <p:pic>
          <p:nvPicPr>
            <p:cNvPr id="23" name="Picture 22" descr="A close up of a logo&#10;&#10;Description automatically generated">
              <a:extLst>
                <a:ext uri="{FF2B5EF4-FFF2-40B4-BE49-F238E27FC236}">
                  <a16:creationId xmlns:a16="http://schemas.microsoft.com/office/drawing/2014/main" id="{F26181BA-E779-C436-72C6-A94591471EB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9" cstate="print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6899"/>
            <a:stretch/>
          </p:blipFill>
          <p:spPr>
            <a:xfrm>
              <a:off x="9358248" y="1483121"/>
              <a:ext cx="1111442" cy="923621"/>
            </a:xfrm>
            <a:prstGeom prst="rect">
              <a:avLst/>
            </a:prstGeom>
          </p:spPr>
        </p:pic>
        <p:pic>
          <p:nvPicPr>
            <p:cNvPr id="24" name="Picture 23" descr="A close up of a logo&#10;&#10;Description automatically generated">
              <a:extLst>
                <a:ext uri="{FF2B5EF4-FFF2-40B4-BE49-F238E27FC236}">
                  <a16:creationId xmlns:a16="http://schemas.microsoft.com/office/drawing/2014/main" id="{3A1C8034-6129-710F-3BB7-0D3098EFCABF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print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663839" y="1634426"/>
              <a:ext cx="433234" cy="433234"/>
            </a:xfrm>
            <a:prstGeom prst="rect">
              <a:avLst/>
            </a:prstGeom>
          </p:spPr>
        </p:pic>
        <p:pic>
          <p:nvPicPr>
            <p:cNvPr id="25" name="Picture 24" descr="A close up of a logo&#10;&#10;Description automatically generated">
              <a:extLst>
                <a:ext uri="{FF2B5EF4-FFF2-40B4-BE49-F238E27FC236}">
                  <a16:creationId xmlns:a16="http://schemas.microsoft.com/office/drawing/2014/main" id="{C0F86A90-69DD-DAF2-0CB8-2DA50447414A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print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022003" y="1624666"/>
              <a:ext cx="254370" cy="254370"/>
            </a:xfrm>
            <a:prstGeom prst="rect">
              <a:avLst/>
            </a:prstGeom>
          </p:spPr>
        </p:pic>
        <p:pic>
          <p:nvPicPr>
            <p:cNvPr id="26" name="Picture 25" descr="A close up of a logo&#10;&#10;Description automatically generated">
              <a:extLst>
                <a:ext uri="{FF2B5EF4-FFF2-40B4-BE49-F238E27FC236}">
                  <a16:creationId xmlns:a16="http://schemas.microsoft.com/office/drawing/2014/main" id="{B380BF9C-721A-F5EC-034F-B00B0709313B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 cstate="print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10800000">
              <a:off x="8778338" y="1483120"/>
              <a:ext cx="741699" cy="741699"/>
            </a:xfrm>
            <a:prstGeom prst="rect">
              <a:avLst/>
            </a:prstGeom>
          </p:spPr>
        </p:pic>
      </p:grpSp>
      <p:sp>
        <p:nvSpPr>
          <p:cNvPr id="27" name="TextBox 26">
            <a:extLst>
              <a:ext uri="{FF2B5EF4-FFF2-40B4-BE49-F238E27FC236}">
                <a16:creationId xmlns:a16="http://schemas.microsoft.com/office/drawing/2014/main" id="{74C2361F-A604-D1CD-DD90-BFD82F5E5616}"/>
              </a:ext>
            </a:extLst>
          </p:cNvPr>
          <p:cNvSpPr txBox="1"/>
          <p:nvPr/>
        </p:nvSpPr>
        <p:spPr>
          <a:xfrm>
            <a:off x="4325968" y="4293590"/>
            <a:ext cx="2292464" cy="5355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20000"/>
              </a:lnSpc>
            </a:pPr>
            <a:r>
              <a:rPr lang="km-KH" sz="1200" dirty="0">
                <a:latin typeface="Khmer OS Battambang" panose="02000500000000020004" pitchFamily="2" charset="0"/>
                <a:cs typeface="Khmer OS Battambang" panose="02000500000000020004" pitchFamily="2" charset="0"/>
              </a:rPr>
              <a:t>ប្រើប្រាស់បច្ចេកវិទ្យា</a:t>
            </a:r>
          </a:p>
          <a:p>
            <a:pPr algn="ctr">
              <a:lnSpc>
                <a:spcPct val="120000"/>
              </a:lnSpc>
            </a:pPr>
            <a:r>
              <a:rPr lang="km-KH" sz="1200" dirty="0">
                <a:latin typeface="Khmer OS Battambang" panose="02000500000000020004" pitchFamily="2" charset="0"/>
                <a:cs typeface="Khmer OS Battambang" panose="02000500000000020004" pitchFamily="2" charset="0"/>
              </a:rPr>
              <a:t>ក្នុងការប្រមូលទិន្នន័យ</a:t>
            </a:r>
            <a:endParaRPr lang="en-US" sz="1200" dirty="0">
              <a:latin typeface="Khmer OS Battambang" panose="02000500000000020004" pitchFamily="2" charset="0"/>
              <a:cs typeface="Khmer OS Battambang" panose="02000500000000020004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8641329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9689A1F-9B57-D42C-827E-114C63E89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16364" y="198582"/>
            <a:ext cx="9737436" cy="900256"/>
          </a:xfrm>
        </p:spPr>
        <p:txBody>
          <a:bodyPr/>
          <a:lstStyle/>
          <a:p>
            <a:r>
              <a:rPr lang="km-KH" dirty="0"/>
              <a:t>រចនាសម្ព័ន្ធនៃការអនុវត្ត </a:t>
            </a:r>
            <a:r>
              <a:rPr lang="en-US" dirty="0" err="1"/>
              <a:t>CLM</a:t>
            </a:r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42986FA-4747-C70E-A737-3832DFD3239C}"/>
              </a:ext>
            </a:extLst>
          </p:cNvPr>
          <p:cNvSpPr/>
          <p:nvPr/>
        </p:nvSpPr>
        <p:spPr>
          <a:xfrm>
            <a:off x="9385871" y="5850799"/>
            <a:ext cx="2326640" cy="81034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2EBCC70-D009-E12F-0159-388375D7A9B2}"/>
              </a:ext>
            </a:extLst>
          </p:cNvPr>
          <p:cNvSpPr txBox="1"/>
          <p:nvPr/>
        </p:nvSpPr>
        <p:spPr>
          <a:xfrm>
            <a:off x="3803808" y="1961015"/>
            <a:ext cx="1048542" cy="33855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800" dirty="0">
                <a:latin typeface="Source Sans Pro" panose="020B0503030403020204" pitchFamily="34" charset="0"/>
              </a:rPr>
              <a:t>Update status back to community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140FA2A-A803-1753-9BB4-68C340BBBB73}"/>
              </a:ext>
            </a:extLst>
          </p:cNvPr>
          <p:cNvSpPr txBox="1"/>
          <p:nvPr/>
        </p:nvSpPr>
        <p:spPr>
          <a:xfrm>
            <a:off x="1333937" y="2224231"/>
            <a:ext cx="1021738" cy="33855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800" dirty="0">
                <a:solidFill>
                  <a:srgbClr val="0070C0"/>
                </a:solidFill>
                <a:latin typeface="Source Sans Pro" panose="020B0503030403020204" pitchFamily="34" charset="0"/>
              </a:rPr>
              <a:t>Information flow from KP</a:t>
            </a:r>
          </a:p>
        </p:txBody>
      </p:sp>
      <p:cxnSp>
        <p:nvCxnSpPr>
          <p:cNvPr id="7" name="Connector: Elbow 6">
            <a:extLst>
              <a:ext uri="{FF2B5EF4-FFF2-40B4-BE49-F238E27FC236}">
                <a16:creationId xmlns:a16="http://schemas.microsoft.com/office/drawing/2014/main" id="{1065C3D1-9A94-7C05-B932-5C209C45CFED}"/>
              </a:ext>
            </a:extLst>
          </p:cNvPr>
          <p:cNvCxnSpPr>
            <a:cxnSpLocks/>
            <a:stCxn id="35" idx="4"/>
            <a:endCxn id="36" idx="4"/>
          </p:cNvCxnSpPr>
          <p:nvPr/>
        </p:nvCxnSpPr>
        <p:spPr>
          <a:xfrm rot="5400000" flipH="1" flipV="1">
            <a:off x="4449044" y="1308437"/>
            <a:ext cx="326456" cy="3301055"/>
          </a:xfrm>
          <a:prstGeom prst="bentConnector3">
            <a:avLst>
              <a:gd name="adj1" fmla="val 64308"/>
            </a:avLst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Connector: Elbow 7">
            <a:extLst>
              <a:ext uri="{FF2B5EF4-FFF2-40B4-BE49-F238E27FC236}">
                <a16:creationId xmlns:a16="http://schemas.microsoft.com/office/drawing/2014/main" id="{0CE827C1-FD65-C676-19E8-5A410319E82D}"/>
              </a:ext>
            </a:extLst>
          </p:cNvPr>
          <p:cNvCxnSpPr>
            <a:cxnSpLocks/>
            <a:stCxn id="24" idx="0"/>
            <a:endCxn id="15" idx="1"/>
          </p:cNvCxnSpPr>
          <p:nvPr/>
        </p:nvCxnSpPr>
        <p:spPr>
          <a:xfrm rot="5400000" flipH="1" flipV="1">
            <a:off x="5664362" y="116912"/>
            <a:ext cx="1008748" cy="4714106"/>
          </a:xfrm>
          <a:prstGeom prst="bentConnector2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E3BC22BB-7236-C060-71E0-15F4DFC113C9}"/>
              </a:ext>
            </a:extLst>
          </p:cNvPr>
          <p:cNvSpPr txBox="1"/>
          <p:nvPr/>
        </p:nvSpPr>
        <p:spPr>
          <a:xfrm>
            <a:off x="5691798" y="2460430"/>
            <a:ext cx="2697719" cy="307777"/>
          </a:xfrm>
          <a:prstGeom prst="rect">
            <a:avLst/>
          </a:prstGeom>
          <a:solidFill>
            <a:srgbClr val="FFC000"/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>
                <a:latin typeface="Source Sans Pro" panose="020B0503030403020204" pitchFamily="34" charset="0"/>
              </a:rPr>
              <a:t>DFONPAM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E1212D4-1759-6E71-C609-2D05589B9EA9}"/>
              </a:ext>
            </a:extLst>
          </p:cNvPr>
          <p:cNvSpPr txBox="1"/>
          <p:nvPr/>
        </p:nvSpPr>
        <p:spPr>
          <a:xfrm>
            <a:off x="2132653" y="3083147"/>
            <a:ext cx="972525" cy="307777"/>
          </a:xfrm>
          <a:prstGeom prst="rect">
            <a:avLst/>
          </a:prstGeom>
          <a:noFill/>
          <a:ln w="19050">
            <a:solidFill>
              <a:schemeClr val="tx1">
                <a:lumMod val="50000"/>
                <a:lumOff val="50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latin typeface="Source Sans Pro" panose="020B0503030403020204" pitchFamily="34" charset="0"/>
              </a:rPr>
              <a:t>HACC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29F387D0-7BEB-9929-C570-6DA368216D80}"/>
              </a:ext>
            </a:extLst>
          </p:cNvPr>
          <p:cNvSpPr txBox="1"/>
          <p:nvPr/>
        </p:nvSpPr>
        <p:spPr>
          <a:xfrm>
            <a:off x="4790519" y="1815702"/>
            <a:ext cx="746938" cy="307777"/>
          </a:xfrm>
          <a:prstGeom prst="rect">
            <a:avLst/>
          </a:prstGeom>
          <a:solidFill>
            <a:srgbClr val="FFC000"/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>
                <a:latin typeface="Source Sans Pro" panose="020B0503030403020204" pitchFamily="34" charset="0"/>
              </a:rPr>
              <a:t>PLHIV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2DB216B3-56F9-203E-2959-71D157CAB050}"/>
              </a:ext>
            </a:extLst>
          </p:cNvPr>
          <p:cNvSpPr txBox="1"/>
          <p:nvPr/>
        </p:nvSpPr>
        <p:spPr>
          <a:xfrm>
            <a:off x="5805909" y="1815702"/>
            <a:ext cx="631953" cy="307777"/>
          </a:xfrm>
          <a:prstGeom prst="rect">
            <a:avLst/>
          </a:prstGeom>
          <a:solidFill>
            <a:srgbClr val="FFC000"/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>
                <a:latin typeface="Source Sans Pro" panose="020B0503030403020204" pitchFamily="34" charset="0"/>
              </a:rPr>
              <a:t>EW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299C1A9-1FDE-D7E0-A73D-D2334DCA2460}"/>
              </a:ext>
            </a:extLst>
          </p:cNvPr>
          <p:cNvSpPr txBox="1"/>
          <p:nvPr/>
        </p:nvSpPr>
        <p:spPr>
          <a:xfrm>
            <a:off x="6724977" y="1815702"/>
            <a:ext cx="631953" cy="307777"/>
          </a:xfrm>
          <a:prstGeom prst="rect">
            <a:avLst/>
          </a:prstGeom>
          <a:solidFill>
            <a:srgbClr val="FFC000"/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>
                <a:latin typeface="Source Sans Pro" panose="020B0503030403020204" pitchFamily="34" charset="0"/>
              </a:rPr>
              <a:t>MSM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400CA276-A6B6-D004-058E-B3516EE7B7E0}"/>
              </a:ext>
            </a:extLst>
          </p:cNvPr>
          <p:cNvSpPr txBox="1"/>
          <p:nvPr/>
        </p:nvSpPr>
        <p:spPr>
          <a:xfrm>
            <a:off x="7625383" y="1815702"/>
            <a:ext cx="631953" cy="307777"/>
          </a:xfrm>
          <a:prstGeom prst="rect">
            <a:avLst/>
          </a:prstGeom>
          <a:solidFill>
            <a:srgbClr val="FFC000"/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>
                <a:latin typeface="Source Sans Pro" panose="020B0503030403020204" pitchFamily="34" charset="0"/>
              </a:rPr>
              <a:t>TG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E6FEB7F5-3CAA-1A2B-E91C-E0496E6A1668}"/>
              </a:ext>
            </a:extLst>
          </p:cNvPr>
          <p:cNvSpPr txBox="1"/>
          <p:nvPr/>
        </p:nvSpPr>
        <p:spPr>
          <a:xfrm>
            <a:off x="8525789" y="1815702"/>
            <a:ext cx="631953" cy="307777"/>
          </a:xfrm>
          <a:prstGeom prst="rect">
            <a:avLst/>
          </a:prstGeom>
          <a:solidFill>
            <a:srgbClr val="FFC000"/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>
                <a:latin typeface="Source Sans Pro" panose="020B0503030403020204" pitchFamily="34" charset="0"/>
              </a:rPr>
              <a:t>PWID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D65B188C-E2C0-E352-CE68-F7B7F766A72B}"/>
              </a:ext>
            </a:extLst>
          </p:cNvPr>
          <p:cNvSpPr txBox="1"/>
          <p:nvPr/>
        </p:nvSpPr>
        <p:spPr>
          <a:xfrm>
            <a:off x="9526874" y="2110959"/>
            <a:ext cx="2269286" cy="17081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b="1" dirty="0">
                <a:latin typeface="Source Sans Pro" panose="020B0503030403020204" pitchFamily="34" charset="0"/>
              </a:rPr>
              <a:t>SUB NATIONAL FORUM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050" dirty="0">
                <a:latin typeface="Source Sans Pro" panose="020B0503030403020204" pitchFamily="34" charset="0"/>
              </a:rPr>
              <a:t>HACC Quarterly Meet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050" dirty="0">
                <a:latin typeface="Source Sans Pro" panose="020B0503030403020204" pitchFamily="34" charset="0"/>
              </a:rPr>
              <a:t>Fast track city (Q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050" dirty="0">
                <a:latin typeface="Source Sans Pro" panose="020B0503030403020204" pitchFamily="34" charset="0"/>
              </a:rPr>
              <a:t>ProTWG (M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050" dirty="0">
                <a:latin typeface="Source Sans Pro" panose="020B0503030403020204" pitchFamily="34" charset="0"/>
              </a:rPr>
              <a:t>GOC (M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050" dirty="0">
                <a:latin typeface="Source Sans Pro" panose="020B0503030403020204" pitchFamily="34" charset="0"/>
              </a:rPr>
              <a:t>BIACM (Q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050" dirty="0">
                <a:latin typeface="Source Sans Pro" panose="020B0503030403020204" pitchFamily="34" charset="0"/>
              </a:rPr>
              <a:t>PAC/MAC (Q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050" dirty="0">
                <a:latin typeface="Source Sans Pro" panose="020B0503030403020204" pitchFamily="34" charset="0"/>
              </a:rPr>
              <a:t>NGO partne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050" dirty="0">
                <a:latin typeface="Source Sans Pro" panose="020B0503030403020204" pitchFamily="34" charset="0"/>
              </a:rPr>
              <a:t>Commune Council, CWCC (ID poor, social protection) - M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381CF130-DF3B-8DB5-510E-D7C12DE62EE3}"/>
              </a:ext>
            </a:extLst>
          </p:cNvPr>
          <p:cNvSpPr txBox="1"/>
          <p:nvPr/>
        </p:nvSpPr>
        <p:spPr>
          <a:xfrm>
            <a:off x="3376620" y="3519878"/>
            <a:ext cx="854376" cy="33855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800" dirty="0">
                <a:latin typeface="Source Sans Pro" panose="020B0503030403020204" pitchFamily="34" charset="0"/>
              </a:rPr>
              <a:t>KP COMMUNITY SCORECARD</a:t>
            </a:r>
          </a:p>
        </p:txBody>
      </p:sp>
      <p:pic>
        <p:nvPicPr>
          <p:cNvPr id="18" name="Graphic 17" descr="Database">
            <a:extLst>
              <a:ext uri="{FF2B5EF4-FFF2-40B4-BE49-F238E27FC236}">
                <a16:creationId xmlns:a16="http://schemas.microsoft.com/office/drawing/2014/main" id="{507ED53B-349B-841D-BC06-440A83F6579F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14758" t="5323" r="10062" b="7606"/>
          <a:stretch/>
        </p:blipFill>
        <p:spPr>
          <a:xfrm>
            <a:off x="2337388" y="2182357"/>
            <a:ext cx="561554" cy="650378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3AA93E9E-11F0-CF1B-86FC-65583644710E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8523" y="1324563"/>
            <a:ext cx="431502" cy="440833"/>
          </a:xfrm>
          <a:prstGeom prst="rect">
            <a:avLst/>
          </a:prstGeom>
          <a:ln>
            <a:noFill/>
          </a:ln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DFBE371E-6BCA-F4C8-1956-57626D616668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05136" y="1324563"/>
            <a:ext cx="431502" cy="440833"/>
          </a:xfrm>
          <a:prstGeom prst="rect">
            <a:avLst/>
          </a:prstGeom>
          <a:ln>
            <a:noFill/>
          </a:ln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1286CA92-F699-EAFE-AC68-77FBC23D68E9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09289" y="1324563"/>
            <a:ext cx="431502" cy="440833"/>
          </a:xfrm>
          <a:prstGeom prst="rect">
            <a:avLst/>
          </a:prstGeom>
          <a:ln>
            <a:noFill/>
          </a:ln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A32887E1-BAC0-AC25-AEB9-9BE2C3032343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85902" y="1324563"/>
            <a:ext cx="431502" cy="440833"/>
          </a:xfrm>
          <a:prstGeom prst="rect">
            <a:avLst/>
          </a:prstGeom>
          <a:ln>
            <a:noFill/>
          </a:ln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4398953C-2C95-A9C4-7B3C-B4D83C105161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08719" y="1324563"/>
            <a:ext cx="431502" cy="440833"/>
          </a:xfrm>
          <a:prstGeom prst="rect">
            <a:avLst/>
          </a:prstGeom>
          <a:ln>
            <a:noFill/>
          </a:ln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5E3CC566-9F82-86BF-68A9-9E2E17443F6C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46098" y="2978339"/>
            <a:ext cx="531169" cy="531169"/>
          </a:xfrm>
          <a:prstGeom prst="rect">
            <a:avLst/>
          </a:prstGeom>
          <a:ln>
            <a:noFill/>
          </a:ln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id="{CFD65421-EC05-A29C-B764-06F4D45993C2}"/>
              </a:ext>
            </a:extLst>
          </p:cNvPr>
          <p:cNvSpPr txBox="1"/>
          <p:nvPr/>
        </p:nvSpPr>
        <p:spPr>
          <a:xfrm>
            <a:off x="2813368" y="2294752"/>
            <a:ext cx="609144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800" dirty="0">
                <a:latin typeface="Source Sans Pro" panose="020B0503030403020204" pitchFamily="34" charset="0"/>
              </a:rPr>
              <a:t>Feedback loop</a:t>
            </a:r>
          </a:p>
          <a:p>
            <a:r>
              <a:rPr lang="en-US" sz="800" dirty="0">
                <a:latin typeface="Source Sans Pro" panose="020B0503030403020204" pitchFamily="34" charset="0"/>
              </a:rPr>
              <a:t>Server</a:t>
            </a:r>
          </a:p>
        </p:txBody>
      </p: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9F8BF785-9F22-29F4-F096-B429421A27C9}"/>
              </a:ext>
            </a:extLst>
          </p:cNvPr>
          <p:cNvCxnSpPr>
            <a:cxnSpLocks/>
          </p:cNvCxnSpPr>
          <p:nvPr/>
        </p:nvCxnSpPr>
        <p:spPr>
          <a:xfrm>
            <a:off x="8389517" y="2606699"/>
            <a:ext cx="1137356" cy="6143"/>
          </a:xfrm>
          <a:prstGeom prst="straightConnector1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1358D9FE-2113-D605-E7A7-215914DEBF2C}"/>
              </a:ext>
            </a:extLst>
          </p:cNvPr>
          <p:cNvCxnSpPr>
            <a:cxnSpLocks/>
          </p:cNvCxnSpPr>
          <p:nvPr/>
        </p:nvCxnSpPr>
        <p:spPr>
          <a:xfrm>
            <a:off x="9526873" y="2182357"/>
            <a:ext cx="0" cy="1609883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Box 27">
            <a:extLst>
              <a:ext uri="{FF2B5EF4-FFF2-40B4-BE49-F238E27FC236}">
                <a16:creationId xmlns:a16="http://schemas.microsoft.com/office/drawing/2014/main" id="{2A79EA4B-AEFA-63EB-CE9D-D8E5BBE52948}"/>
              </a:ext>
            </a:extLst>
          </p:cNvPr>
          <p:cNvSpPr txBox="1"/>
          <p:nvPr/>
        </p:nvSpPr>
        <p:spPr>
          <a:xfrm>
            <a:off x="5691798" y="3209024"/>
            <a:ext cx="2697719" cy="523220"/>
          </a:xfrm>
          <a:prstGeom prst="rect">
            <a:avLst/>
          </a:prstGeom>
          <a:solidFill>
            <a:srgbClr val="FFC000"/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>
                <a:latin typeface="Source Sans Pro" panose="020B0503030403020204" pitchFamily="34" charset="0"/>
              </a:rPr>
              <a:t>FONPAM</a:t>
            </a:r>
          </a:p>
          <a:p>
            <a:pPr algn="ctr"/>
            <a:r>
              <a:rPr lang="en-US" sz="1400" b="1" dirty="0">
                <a:latin typeface="Source Sans Pro" panose="020B0503030403020204" pitchFamily="34" charset="0"/>
              </a:rPr>
              <a:t>CPN+ | BC | CNPUD | EWNet</a:t>
            </a:r>
          </a:p>
        </p:txBody>
      </p:sp>
      <p:cxnSp>
        <p:nvCxnSpPr>
          <p:cNvPr id="29" name="Connector: Elbow 28">
            <a:extLst>
              <a:ext uri="{FF2B5EF4-FFF2-40B4-BE49-F238E27FC236}">
                <a16:creationId xmlns:a16="http://schemas.microsoft.com/office/drawing/2014/main" id="{D6707276-AB7B-1EF6-E5F4-6ED4C3946B3B}"/>
              </a:ext>
            </a:extLst>
          </p:cNvPr>
          <p:cNvCxnSpPr>
            <a:cxnSpLocks/>
            <a:stCxn id="24" idx="3"/>
            <a:endCxn id="9" idx="1"/>
          </p:cNvCxnSpPr>
          <p:nvPr/>
        </p:nvCxnSpPr>
        <p:spPr>
          <a:xfrm flipV="1">
            <a:off x="4077267" y="2614319"/>
            <a:ext cx="1614531" cy="629605"/>
          </a:xfrm>
          <a:prstGeom prst="bentConnector3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Connector: Elbow 29">
            <a:extLst>
              <a:ext uri="{FF2B5EF4-FFF2-40B4-BE49-F238E27FC236}">
                <a16:creationId xmlns:a16="http://schemas.microsoft.com/office/drawing/2014/main" id="{0822D8EB-D17A-195C-34BB-661AC76DAFB9}"/>
              </a:ext>
            </a:extLst>
          </p:cNvPr>
          <p:cNvCxnSpPr>
            <a:cxnSpLocks/>
            <a:stCxn id="24" idx="3"/>
            <a:endCxn id="28" idx="1"/>
          </p:cNvCxnSpPr>
          <p:nvPr/>
        </p:nvCxnSpPr>
        <p:spPr>
          <a:xfrm>
            <a:off x="4077267" y="3243924"/>
            <a:ext cx="1614531" cy="226710"/>
          </a:xfrm>
          <a:prstGeom prst="bentConnector3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Arrow Connector 30">
            <a:extLst>
              <a:ext uri="{FF2B5EF4-FFF2-40B4-BE49-F238E27FC236}">
                <a16:creationId xmlns:a16="http://schemas.microsoft.com/office/drawing/2014/main" id="{5025692F-D1DA-5A0C-77DA-1E9A6EB5DBC8}"/>
              </a:ext>
            </a:extLst>
          </p:cNvPr>
          <p:cNvCxnSpPr>
            <a:cxnSpLocks/>
            <a:stCxn id="10" idx="3"/>
            <a:endCxn id="24" idx="1"/>
          </p:cNvCxnSpPr>
          <p:nvPr/>
        </p:nvCxnSpPr>
        <p:spPr>
          <a:xfrm>
            <a:off x="3105178" y="3237036"/>
            <a:ext cx="440920" cy="6888"/>
          </a:xfrm>
          <a:prstGeom prst="straightConnector1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Box 31">
            <a:extLst>
              <a:ext uri="{FF2B5EF4-FFF2-40B4-BE49-F238E27FC236}">
                <a16:creationId xmlns:a16="http://schemas.microsoft.com/office/drawing/2014/main" id="{BDCA75F4-66A3-438C-C36B-26EE469F9142}"/>
              </a:ext>
            </a:extLst>
          </p:cNvPr>
          <p:cNvSpPr txBox="1"/>
          <p:nvPr/>
        </p:nvSpPr>
        <p:spPr>
          <a:xfrm>
            <a:off x="4874881" y="2920903"/>
            <a:ext cx="1350389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700" dirty="0">
                <a:solidFill>
                  <a:schemeClr val="accent1"/>
                </a:solidFill>
                <a:latin typeface="Source Sans Pro" panose="020B0503030403020204" pitchFamily="34" charset="0"/>
              </a:rPr>
              <a:t>Drop link for information collection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DD9A3C0F-A3BE-779A-AAFC-30E55DB365BD}"/>
              </a:ext>
            </a:extLst>
          </p:cNvPr>
          <p:cNvSpPr txBox="1"/>
          <p:nvPr/>
        </p:nvSpPr>
        <p:spPr>
          <a:xfrm>
            <a:off x="5614220" y="2260450"/>
            <a:ext cx="1350389" cy="21544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800" dirty="0">
                <a:solidFill>
                  <a:schemeClr val="accent1"/>
                </a:solidFill>
                <a:latin typeface="Source Sans Pro" panose="020B0503030403020204" pitchFamily="34" charset="0"/>
              </a:rPr>
              <a:t>Share link via network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5566129F-BB3D-787F-EA37-093B2D798740}"/>
              </a:ext>
            </a:extLst>
          </p:cNvPr>
          <p:cNvSpPr txBox="1"/>
          <p:nvPr/>
        </p:nvSpPr>
        <p:spPr>
          <a:xfrm>
            <a:off x="3268829" y="1108532"/>
            <a:ext cx="1707141" cy="21544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800" dirty="0">
                <a:solidFill>
                  <a:srgbClr val="0070C0"/>
                </a:solidFill>
                <a:latin typeface="Source Sans Pro" panose="020B0503030403020204" pitchFamily="34" charset="0"/>
              </a:rPr>
              <a:t>Information flow from KP</a:t>
            </a:r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5D5337F5-E215-8BFF-4C63-2C826F9C4678}"/>
              </a:ext>
            </a:extLst>
          </p:cNvPr>
          <p:cNvSpPr/>
          <p:nvPr/>
        </p:nvSpPr>
        <p:spPr>
          <a:xfrm>
            <a:off x="2922698" y="3044100"/>
            <a:ext cx="78093" cy="78093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928086CB-0EBE-BD22-20B6-B5EEF9BC1CFC}"/>
              </a:ext>
            </a:extLst>
          </p:cNvPr>
          <p:cNvSpPr/>
          <p:nvPr/>
        </p:nvSpPr>
        <p:spPr>
          <a:xfrm>
            <a:off x="6223753" y="2717644"/>
            <a:ext cx="78093" cy="78093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12B2B098-A454-E5FC-9B9F-FF2BF460C70A}"/>
              </a:ext>
            </a:extLst>
          </p:cNvPr>
          <p:cNvSpPr txBox="1"/>
          <p:nvPr/>
        </p:nvSpPr>
        <p:spPr>
          <a:xfrm>
            <a:off x="647523" y="3004382"/>
            <a:ext cx="1132356" cy="461665"/>
          </a:xfrm>
          <a:prstGeom prst="rect">
            <a:avLst/>
          </a:prstGeom>
          <a:solidFill>
            <a:srgbClr val="FFC000"/>
          </a:solidFill>
          <a:ln w="19050">
            <a:solidFill>
              <a:schemeClr val="tx1">
                <a:lumMod val="50000"/>
                <a:lumOff val="50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>
                <a:latin typeface="Source Sans Pro" panose="020B0503030403020204" pitchFamily="34" charset="0"/>
              </a:rPr>
              <a:t>GFATM SSI</a:t>
            </a:r>
          </a:p>
          <a:p>
            <a:pPr algn="ctr"/>
            <a:r>
              <a:rPr lang="en-US" sz="1200" b="1" dirty="0">
                <a:latin typeface="Source Sans Pro" panose="020B0503030403020204" pitchFamily="34" charset="0"/>
              </a:rPr>
              <a:t>network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274CD54A-FA47-72B2-DC7D-D3DD43527A29}"/>
              </a:ext>
            </a:extLst>
          </p:cNvPr>
          <p:cNvSpPr txBox="1"/>
          <p:nvPr/>
        </p:nvSpPr>
        <p:spPr>
          <a:xfrm>
            <a:off x="647523" y="1757088"/>
            <a:ext cx="1132356" cy="461665"/>
          </a:xfrm>
          <a:prstGeom prst="rect">
            <a:avLst/>
          </a:prstGeom>
          <a:solidFill>
            <a:srgbClr val="FFC000"/>
          </a:solidFill>
          <a:ln w="19050">
            <a:solidFill>
              <a:schemeClr val="tx1">
                <a:lumMod val="50000"/>
                <a:lumOff val="50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>
                <a:latin typeface="Source Sans Pro" panose="020B0503030403020204" pitchFamily="34" charset="0"/>
              </a:rPr>
              <a:t>KP communities</a:t>
            </a:r>
          </a:p>
        </p:txBody>
      </p: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534A6666-BD27-44C9-9EA6-1F9947B47E76}"/>
              </a:ext>
            </a:extLst>
          </p:cNvPr>
          <p:cNvCxnSpPr>
            <a:cxnSpLocks/>
            <a:stCxn id="37" idx="0"/>
            <a:endCxn id="38" idx="2"/>
          </p:cNvCxnSpPr>
          <p:nvPr/>
        </p:nvCxnSpPr>
        <p:spPr>
          <a:xfrm flipV="1">
            <a:off x="1213701" y="2218753"/>
            <a:ext cx="0" cy="785629"/>
          </a:xfrm>
          <a:prstGeom prst="line">
            <a:avLst/>
          </a:prstGeom>
          <a:ln w="19050"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Connector: Elbow 39">
            <a:extLst>
              <a:ext uri="{FF2B5EF4-FFF2-40B4-BE49-F238E27FC236}">
                <a16:creationId xmlns:a16="http://schemas.microsoft.com/office/drawing/2014/main" id="{293AE202-71EE-D1C3-17B1-97A3322A6AA5}"/>
              </a:ext>
            </a:extLst>
          </p:cNvPr>
          <p:cNvCxnSpPr>
            <a:cxnSpLocks/>
            <a:stCxn id="73" idx="4"/>
            <a:endCxn id="18" idx="1"/>
          </p:cNvCxnSpPr>
          <p:nvPr/>
        </p:nvCxnSpPr>
        <p:spPr>
          <a:xfrm rot="16200000" flipH="1">
            <a:off x="1719945" y="1890103"/>
            <a:ext cx="247096" cy="987789"/>
          </a:xfrm>
          <a:prstGeom prst="bentConnector2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Arrow Connector 40">
            <a:extLst>
              <a:ext uri="{FF2B5EF4-FFF2-40B4-BE49-F238E27FC236}">
                <a16:creationId xmlns:a16="http://schemas.microsoft.com/office/drawing/2014/main" id="{A10BE96D-795C-9FA4-954F-97A2F44C25F9}"/>
              </a:ext>
            </a:extLst>
          </p:cNvPr>
          <p:cNvCxnSpPr>
            <a:stCxn id="10" idx="1"/>
            <a:endCxn id="37" idx="3"/>
          </p:cNvCxnSpPr>
          <p:nvPr/>
        </p:nvCxnSpPr>
        <p:spPr>
          <a:xfrm flipH="1" flipV="1">
            <a:off x="1779879" y="3235215"/>
            <a:ext cx="352774" cy="1821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Arrow Connector 41">
            <a:extLst>
              <a:ext uri="{FF2B5EF4-FFF2-40B4-BE49-F238E27FC236}">
                <a16:creationId xmlns:a16="http://schemas.microsoft.com/office/drawing/2014/main" id="{9CCA9393-53B0-7F8E-59F2-2086000F9B75}"/>
              </a:ext>
            </a:extLst>
          </p:cNvPr>
          <p:cNvCxnSpPr>
            <a:cxnSpLocks/>
          </p:cNvCxnSpPr>
          <p:nvPr/>
        </p:nvCxnSpPr>
        <p:spPr>
          <a:xfrm>
            <a:off x="9626653" y="5972178"/>
            <a:ext cx="392237" cy="0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Arrow Connector 42">
            <a:extLst>
              <a:ext uri="{FF2B5EF4-FFF2-40B4-BE49-F238E27FC236}">
                <a16:creationId xmlns:a16="http://schemas.microsoft.com/office/drawing/2014/main" id="{AFA921F5-C540-5F9F-672C-42E2D01F89A3}"/>
              </a:ext>
            </a:extLst>
          </p:cNvPr>
          <p:cNvCxnSpPr>
            <a:cxnSpLocks/>
          </p:cNvCxnSpPr>
          <p:nvPr/>
        </p:nvCxnSpPr>
        <p:spPr>
          <a:xfrm>
            <a:off x="9626653" y="6140853"/>
            <a:ext cx="392237" cy="0"/>
          </a:xfrm>
          <a:prstGeom prst="straightConnector1">
            <a:avLst/>
          </a:prstGeom>
          <a:ln w="28575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Arrow Connector 43">
            <a:extLst>
              <a:ext uri="{FF2B5EF4-FFF2-40B4-BE49-F238E27FC236}">
                <a16:creationId xmlns:a16="http://schemas.microsoft.com/office/drawing/2014/main" id="{ECE7D954-D031-3EBC-25E8-C2401F27654E}"/>
              </a:ext>
            </a:extLst>
          </p:cNvPr>
          <p:cNvCxnSpPr>
            <a:cxnSpLocks/>
          </p:cNvCxnSpPr>
          <p:nvPr/>
        </p:nvCxnSpPr>
        <p:spPr>
          <a:xfrm>
            <a:off x="9626653" y="6510079"/>
            <a:ext cx="392237" cy="0"/>
          </a:xfrm>
          <a:prstGeom prst="straightConnector1">
            <a:avLst/>
          </a:prstGeom>
          <a:ln w="28575">
            <a:solidFill>
              <a:schemeClr val="tx1">
                <a:lumMod val="50000"/>
                <a:lumOff val="50000"/>
              </a:schemeClr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TextBox 44">
            <a:extLst>
              <a:ext uri="{FF2B5EF4-FFF2-40B4-BE49-F238E27FC236}">
                <a16:creationId xmlns:a16="http://schemas.microsoft.com/office/drawing/2014/main" id="{61CF72EF-92C1-609B-9488-2972D452F06F}"/>
              </a:ext>
            </a:extLst>
          </p:cNvPr>
          <p:cNvSpPr txBox="1"/>
          <p:nvPr/>
        </p:nvSpPr>
        <p:spPr>
          <a:xfrm>
            <a:off x="10058041" y="5850286"/>
            <a:ext cx="1503073" cy="2308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900" dirty="0">
                <a:latin typeface="Source Sans Pro" panose="020B0503030403020204" pitchFamily="34" charset="0"/>
              </a:rPr>
              <a:t>Gather information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0BAF9A4B-E213-BF58-161D-00818416D953}"/>
              </a:ext>
            </a:extLst>
          </p:cNvPr>
          <p:cNvSpPr txBox="1"/>
          <p:nvPr/>
        </p:nvSpPr>
        <p:spPr>
          <a:xfrm>
            <a:off x="10058041" y="6021211"/>
            <a:ext cx="1503073" cy="2308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900" dirty="0">
                <a:latin typeface="Source Sans Pro" panose="020B0503030403020204" pitchFamily="34" charset="0"/>
              </a:rPr>
              <a:t>Using information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0991ADF8-2BF8-616C-E258-BF5F7AF686D7}"/>
              </a:ext>
            </a:extLst>
          </p:cNvPr>
          <p:cNvSpPr txBox="1"/>
          <p:nvPr/>
        </p:nvSpPr>
        <p:spPr>
          <a:xfrm>
            <a:off x="10058041" y="6392687"/>
            <a:ext cx="1503073" cy="2308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900" dirty="0">
                <a:latin typeface="Source Sans Pro" panose="020B0503030403020204" pitchFamily="34" charset="0"/>
              </a:rPr>
              <a:t>Feedback to community</a:t>
            </a:r>
          </a:p>
        </p:txBody>
      </p:sp>
      <p:cxnSp>
        <p:nvCxnSpPr>
          <p:cNvPr id="48" name="Connector: Elbow 47">
            <a:extLst>
              <a:ext uri="{FF2B5EF4-FFF2-40B4-BE49-F238E27FC236}">
                <a16:creationId xmlns:a16="http://schemas.microsoft.com/office/drawing/2014/main" id="{FA94CF20-F000-9F9A-3354-B1DAAEA41231}"/>
              </a:ext>
            </a:extLst>
          </p:cNvPr>
          <p:cNvCxnSpPr>
            <a:cxnSpLocks/>
            <a:stCxn id="9" idx="0"/>
            <a:endCxn id="11" idx="2"/>
          </p:cNvCxnSpPr>
          <p:nvPr/>
        </p:nvCxnSpPr>
        <p:spPr>
          <a:xfrm rot="16200000" flipV="1">
            <a:off x="5933848" y="1353620"/>
            <a:ext cx="336951" cy="1876670"/>
          </a:xfrm>
          <a:prstGeom prst="bentConnector3">
            <a:avLst>
              <a:gd name="adj1" fmla="val 50000"/>
            </a:avLst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Connector: Elbow 48">
            <a:extLst>
              <a:ext uri="{FF2B5EF4-FFF2-40B4-BE49-F238E27FC236}">
                <a16:creationId xmlns:a16="http://schemas.microsoft.com/office/drawing/2014/main" id="{7B756F95-8AD0-EFDF-32CA-D0C64AA7272D}"/>
              </a:ext>
            </a:extLst>
          </p:cNvPr>
          <p:cNvCxnSpPr>
            <a:cxnSpLocks/>
            <a:stCxn id="9" idx="0"/>
            <a:endCxn id="12" idx="2"/>
          </p:cNvCxnSpPr>
          <p:nvPr/>
        </p:nvCxnSpPr>
        <p:spPr>
          <a:xfrm rot="16200000" flipV="1">
            <a:off x="6412797" y="1832569"/>
            <a:ext cx="336951" cy="918772"/>
          </a:xfrm>
          <a:prstGeom prst="bentConnector3">
            <a:avLst>
              <a:gd name="adj1" fmla="val 50000"/>
            </a:avLst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Connector: Elbow 49">
            <a:extLst>
              <a:ext uri="{FF2B5EF4-FFF2-40B4-BE49-F238E27FC236}">
                <a16:creationId xmlns:a16="http://schemas.microsoft.com/office/drawing/2014/main" id="{40F2FDA5-DBEB-9E4E-A3D7-F33C5609AD94}"/>
              </a:ext>
            </a:extLst>
          </p:cNvPr>
          <p:cNvCxnSpPr>
            <a:cxnSpLocks/>
            <a:stCxn id="9" idx="0"/>
            <a:endCxn id="15" idx="2"/>
          </p:cNvCxnSpPr>
          <p:nvPr/>
        </p:nvCxnSpPr>
        <p:spPr>
          <a:xfrm rot="5400000" flipH="1" flipV="1">
            <a:off x="7772737" y="1391401"/>
            <a:ext cx="336951" cy="1801108"/>
          </a:xfrm>
          <a:prstGeom prst="bentConnector3">
            <a:avLst>
              <a:gd name="adj1" fmla="val 50000"/>
            </a:avLst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Connector: Elbow 50">
            <a:extLst>
              <a:ext uri="{FF2B5EF4-FFF2-40B4-BE49-F238E27FC236}">
                <a16:creationId xmlns:a16="http://schemas.microsoft.com/office/drawing/2014/main" id="{A4E8973C-406D-5399-0473-185A151D8887}"/>
              </a:ext>
            </a:extLst>
          </p:cNvPr>
          <p:cNvCxnSpPr>
            <a:cxnSpLocks/>
            <a:stCxn id="9" idx="0"/>
            <a:endCxn id="14" idx="2"/>
          </p:cNvCxnSpPr>
          <p:nvPr/>
        </p:nvCxnSpPr>
        <p:spPr>
          <a:xfrm rot="5400000" flipH="1" flipV="1">
            <a:off x="7322534" y="1841604"/>
            <a:ext cx="336951" cy="900702"/>
          </a:xfrm>
          <a:prstGeom prst="bentConnector3">
            <a:avLst>
              <a:gd name="adj1" fmla="val 50000"/>
            </a:avLst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67431CC8-1763-305C-B224-84E1D867FBA8}"/>
              </a:ext>
            </a:extLst>
          </p:cNvPr>
          <p:cNvCxnSpPr>
            <a:cxnSpLocks/>
            <a:stCxn id="9" idx="0"/>
            <a:endCxn id="13" idx="2"/>
          </p:cNvCxnSpPr>
          <p:nvPr/>
        </p:nvCxnSpPr>
        <p:spPr>
          <a:xfrm flipV="1">
            <a:off x="7040658" y="2123479"/>
            <a:ext cx="296" cy="336951"/>
          </a:xfrm>
          <a:prstGeom prst="line">
            <a:avLst/>
          </a:prstGeom>
          <a:ln w="19050"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Straight Arrow Connector 52">
            <a:extLst>
              <a:ext uri="{FF2B5EF4-FFF2-40B4-BE49-F238E27FC236}">
                <a16:creationId xmlns:a16="http://schemas.microsoft.com/office/drawing/2014/main" id="{B7315F50-BFB9-DD28-77D3-62BEB74433A3}"/>
              </a:ext>
            </a:extLst>
          </p:cNvPr>
          <p:cNvCxnSpPr>
            <a:cxnSpLocks/>
            <a:stCxn id="9" idx="2"/>
            <a:endCxn id="28" idx="0"/>
          </p:cNvCxnSpPr>
          <p:nvPr/>
        </p:nvCxnSpPr>
        <p:spPr>
          <a:xfrm>
            <a:off x="7040658" y="2768207"/>
            <a:ext cx="0" cy="440817"/>
          </a:xfrm>
          <a:prstGeom prst="straightConnector1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4" name="Picture 53">
            <a:extLst>
              <a:ext uri="{FF2B5EF4-FFF2-40B4-BE49-F238E27FC236}">
                <a16:creationId xmlns:a16="http://schemas.microsoft.com/office/drawing/2014/main" id="{179F72EF-570F-A7D2-E800-731F9B3CFD36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26872" y="1577982"/>
            <a:ext cx="531169" cy="531169"/>
          </a:xfrm>
          <a:prstGeom prst="rect">
            <a:avLst/>
          </a:prstGeom>
          <a:ln>
            <a:noFill/>
          </a:ln>
        </p:spPr>
      </p:pic>
      <p:cxnSp>
        <p:nvCxnSpPr>
          <p:cNvPr id="55" name="Connector: Elbow 54">
            <a:extLst>
              <a:ext uri="{FF2B5EF4-FFF2-40B4-BE49-F238E27FC236}">
                <a16:creationId xmlns:a16="http://schemas.microsoft.com/office/drawing/2014/main" id="{70F8E31A-5B55-4D01-DFD6-B8894F7EADC1}"/>
              </a:ext>
            </a:extLst>
          </p:cNvPr>
          <p:cNvCxnSpPr>
            <a:cxnSpLocks/>
          </p:cNvCxnSpPr>
          <p:nvPr/>
        </p:nvCxnSpPr>
        <p:spPr>
          <a:xfrm rot="10800000">
            <a:off x="8389518" y="2715986"/>
            <a:ext cx="1137357" cy="453879"/>
          </a:xfrm>
          <a:prstGeom prst="bentConnector3">
            <a:avLst>
              <a:gd name="adj1" fmla="val 21287"/>
            </a:avLst>
          </a:prstGeom>
          <a:ln w="190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Connector: Elbow 55">
            <a:extLst>
              <a:ext uri="{FF2B5EF4-FFF2-40B4-BE49-F238E27FC236}">
                <a16:creationId xmlns:a16="http://schemas.microsoft.com/office/drawing/2014/main" id="{9C4BADB4-E42B-9513-4135-B99F1C91029D}"/>
              </a:ext>
            </a:extLst>
          </p:cNvPr>
          <p:cNvCxnSpPr>
            <a:cxnSpLocks/>
            <a:stCxn id="19" idx="0"/>
            <a:endCxn id="18" idx="0"/>
          </p:cNvCxnSpPr>
          <p:nvPr/>
        </p:nvCxnSpPr>
        <p:spPr>
          <a:xfrm rot="16200000" flipH="1" flipV="1">
            <a:off x="5302323" y="-1359595"/>
            <a:ext cx="857794" cy="6226109"/>
          </a:xfrm>
          <a:prstGeom prst="bentConnector3">
            <a:avLst>
              <a:gd name="adj1" fmla="val -26650"/>
            </a:avLst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Connector: Elbow 56">
            <a:extLst>
              <a:ext uri="{FF2B5EF4-FFF2-40B4-BE49-F238E27FC236}">
                <a16:creationId xmlns:a16="http://schemas.microsoft.com/office/drawing/2014/main" id="{EF6FAA21-A183-BF30-F99F-A4E9E733C267}"/>
              </a:ext>
            </a:extLst>
          </p:cNvPr>
          <p:cNvCxnSpPr>
            <a:cxnSpLocks/>
            <a:stCxn id="22" idx="0"/>
            <a:endCxn id="18" idx="0"/>
          </p:cNvCxnSpPr>
          <p:nvPr/>
        </p:nvCxnSpPr>
        <p:spPr>
          <a:xfrm rot="16200000" flipH="1" flipV="1">
            <a:off x="3931012" y="11716"/>
            <a:ext cx="857794" cy="3483488"/>
          </a:xfrm>
          <a:prstGeom prst="bentConnector3">
            <a:avLst>
              <a:gd name="adj1" fmla="val -26650"/>
            </a:avLst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Connector: Elbow 57">
            <a:extLst>
              <a:ext uri="{FF2B5EF4-FFF2-40B4-BE49-F238E27FC236}">
                <a16:creationId xmlns:a16="http://schemas.microsoft.com/office/drawing/2014/main" id="{A3B389B5-7729-932A-35B4-9739D091FE1A}"/>
              </a:ext>
            </a:extLst>
          </p:cNvPr>
          <p:cNvCxnSpPr>
            <a:cxnSpLocks/>
            <a:stCxn id="20" idx="0"/>
            <a:endCxn id="18" idx="0"/>
          </p:cNvCxnSpPr>
          <p:nvPr/>
        </p:nvCxnSpPr>
        <p:spPr>
          <a:xfrm rot="16200000" flipH="1" flipV="1">
            <a:off x="4840629" y="-897901"/>
            <a:ext cx="857794" cy="5302722"/>
          </a:xfrm>
          <a:prstGeom prst="bentConnector3">
            <a:avLst>
              <a:gd name="adj1" fmla="val -26650"/>
            </a:avLst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Connector: Elbow 58">
            <a:extLst>
              <a:ext uri="{FF2B5EF4-FFF2-40B4-BE49-F238E27FC236}">
                <a16:creationId xmlns:a16="http://schemas.microsoft.com/office/drawing/2014/main" id="{D25586AC-8856-6C72-050B-B8AAF5B978F7}"/>
              </a:ext>
            </a:extLst>
          </p:cNvPr>
          <p:cNvCxnSpPr>
            <a:cxnSpLocks/>
            <a:stCxn id="21" idx="0"/>
            <a:endCxn id="18" idx="0"/>
          </p:cNvCxnSpPr>
          <p:nvPr/>
        </p:nvCxnSpPr>
        <p:spPr>
          <a:xfrm rot="16200000" flipH="1" flipV="1">
            <a:off x="4392706" y="-449978"/>
            <a:ext cx="857794" cy="4406875"/>
          </a:xfrm>
          <a:prstGeom prst="bentConnector3">
            <a:avLst>
              <a:gd name="adj1" fmla="val -26650"/>
            </a:avLst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Connector: Elbow 59">
            <a:extLst>
              <a:ext uri="{FF2B5EF4-FFF2-40B4-BE49-F238E27FC236}">
                <a16:creationId xmlns:a16="http://schemas.microsoft.com/office/drawing/2014/main" id="{B554B57D-EA53-5D8F-9BC5-126127B2D0B2}"/>
              </a:ext>
            </a:extLst>
          </p:cNvPr>
          <p:cNvCxnSpPr>
            <a:cxnSpLocks/>
            <a:stCxn id="23" idx="0"/>
            <a:endCxn id="18" idx="0"/>
          </p:cNvCxnSpPr>
          <p:nvPr/>
        </p:nvCxnSpPr>
        <p:spPr>
          <a:xfrm rot="16200000" flipH="1" flipV="1">
            <a:off x="3492421" y="450307"/>
            <a:ext cx="857794" cy="2606305"/>
          </a:xfrm>
          <a:prstGeom prst="bentConnector3">
            <a:avLst>
              <a:gd name="adj1" fmla="val -26650"/>
            </a:avLst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TextBox 60">
            <a:extLst>
              <a:ext uri="{FF2B5EF4-FFF2-40B4-BE49-F238E27FC236}">
                <a16:creationId xmlns:a16="http://schemas.microsoft.com/office/drawing/2014/main" id="{2679035A-37CE-ABC5-3879-F0A1EE8C9A2C}"/>
              </a:ext>
            </a:extLst>
          </p:cNvPr>
          <p:cNvSpPr txBox="1"/>
          <p:nvPr/>
        </p:nvSpPr>
        <p:spPr>
          <a:xfrm>
            <a:off x="4794925" y="2395623"/>
            <a:ext cx="1268015" cy="21544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800" dirty="0">
                <a:latin typeface="Source Sans Pro" panose="020B0503030403020204" pitchFamily="34" charset="0"/>
              </a:rPr>
              <a:t>Using information</a:t>
            </a: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EE3A134C-9CB6-76B0-8071-93D9824EA19F}"/>
              </a:ext>
            </a:extLst>
          </p:cNvPr>
          <p:cNvSpPr txBox="1"/>
          <p:nvPr/>
        </p:nvSpPr>
        <p:spPr>
          <a:xfrm>
            <a:off x="8478780" y="2395623"/>
            <a:ext cx="1268015" cy="21544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800" dirty="0">
                <a:latin typeface="Source Sans Pro" panose="020B0503030403020204" pitchFamily="34" charset="0"/>
              </a:rPr>
              <a:t>Using information</a:t>
            </a: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6F5A94D5-5979-FB59-C25D-5A2F3CD7A4DF}"/>
              </a:ext>
            </a:extLst>
          </p:cNvPr>
          <p:cNvSpPr txBox="1"/>
          <p:nvPr/>
        </p:nvSpPr>
        <p:spPr>
          <a:xfrm>
            <a:off x="7395655" y="3786214"/>
            <a:ext cx="1526396" cy="21544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800" dirty="0">
                <a:solidFill>
                  <a:srgbClr val="FF0000"/>
                </a:solidFill>
                <a:latin typeface="Source Sans Pro" panose="020B0503030403020204" pitchFamily="34" charset="0"/>
              </a:rPr>
              <a:t>Response from providers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942C3DC3-4231-7B47-D749-65AE04A6625B}"/>
              </a:ext>
            </a:extLst>
          </p:cNvPr>
          <p:cNvSpPr txBox="1"/>
          <p:nvPr/>
        </p:nvSpPr>
        <p:spPr>
          <a:xfrm>
            <a:off x="10101555" y="4310640"/>
            <a:ext cx="802372" cy="307777"/>
          </a:xfrm>
          <a:prstGeom prst="rect">
            <a:avLst/>
          </a:prstGeom>
          <a:noFill/>
          <a:ln w="19050">
            <a:solidFill>
              <a:schemeClr val="tx1">
                <a:lumMod val="50000"/>
                <a:lumOff val="50000"/>
              </a:schemeClr>
            </a:solidFill>
            <a:headEnd type="none" w="med" len="med"/>
            <a:tailEnd type="triangle" w="med" len="med"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latin typeface="Source Sans Pro" panose="020B0503030403020204" pitchFamily="34" charset="0"/>
              </a:rPr>
              <a:t>HTS WG</a:t>
            </a: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6DF38FCC-5CD7-9017-70AC-463C7B069D4D}"/>
              </a:ext>
            </a:extLst>
          </p:cNvPr>
          <p:cNvSpPr txBox="1"/>
          <p:nvPr/>
        </p:nvSpPr>
        <p:spPr>
          <a:xfrm>
            <a:off x="2028564" y="4304668"/>
            <a:ext cx="1726163" cy="307777"/>
          </a:xfrm>
          <a:prstGeom prst="rect">
            <a:avLst/>
          </a:prstGeom>
          <a:noFill/>
          <a:ln w="19050">
            <a:solidFill>
              <a:schemeClr val="tx1">
                <a:lumMod val="50000"/>
                <a:lumOff val="50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latin typeface="Source Sans Pro" panose="020B0503030403020204" pitchFamily="34" charset="0"/>
              </a:rPr>
              <a:t>MSM/TG TWG</a:t>
            </a: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9251033C-40BB-1984-2CC0-FB49948A9B73}"/>
              </a:ext>
            </a:extLst>
          </p:cNvPr>
          <p:cNvSpPr txBox="1"/>
          <p:nvPr/>
        </p:nvSpPr>
        <p:spPr>
          <a:xfrm>
            <a:off x="3909067" y="4304668"/>
            <a:ext cx="956003" cy="307777"/>
          </a:xfrm>
          <a:prstGeom prst="rect">
            <a:avLst/>
          </a:prstGeom>
          <a:noFill/>
          <a:ln w="19050">
            <a:solidFill>
              <a:schemeClr val="tx1">
                <a:lumMod val="50000"/>
                <a:lumOff val="50000"/>
              </a:schemeClr>
            </a:solidFill>
            <a:headEnd type="none" w="med" len="med"/>
            <a:tailEnd type="triangle" w="med" len="med"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latin typeface="Source Sans Pro" panose="020B0503030403020204" pitchFamily="34" charset="0"/>
              </a:rPr>
              <a:t>TAB</a:t>
            </a: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5BAA44AE-A531-54C0-F28C-A925BB9B9E0D}"/>
              </a:ext>
            </a:extLst>
          </p:cNvPr>
          <p:cNvSpPr txBox="1"/>
          <p:nvPr/>
        </p:nvSpPr>
        <p:spPr>
          <a:xfrm>
            <a:off x="6347426" y="4249592"/>
            <a:ext cx="1377054" cy="307777"/>
          </a:xfrm>
          <a:prstGeom prst="rect">
            <a:avLst/>
          </a:prstGeom>
          <a:noFill/>
          <a:ln w="19050">
            <a:solidFill>
              <a:schemeClr val="tx1">
                <a:lumMod val="50000"/>
                <a:lumOff val="50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latin typeface="Source Sans Pro" panose="020B0503030403020204" pitchFamily="34" charset="0"/>
              </a:rPr>
              <a:t>CCC-OC</a:t>
            </a: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8FFE07D7-487E-32CF-A85B-73238372A24C}"/>
              </a:ext>
            </a:extLst>
          </p:cNvPr>
          <p:cNvSpPr txBox="1"/>
          <p:nvPr/>
        </p:nvSpPr>
        <p:spPr>
          <a:xfrm>
            <a:off x="8540299" y="4310639"/>
            <a:ext cx="1457287" cy="307777"/>
          </a:xfrm>
          <a:prstGeom prst="rect">
            <a:avLst/>
          </a:prstGeom>
          <a:noFill/>
          <a:ln w="19050">
            <a:solidFill>
              <a:schemeClr val="tx1">
                <a:lumMod val="50000"/>
                <a:lumOff val="50000"/>
              </a:schemeClr>
            </a:solidFill>
            <a:headEnd type="none" w="med" len="med"/>
            <a:tailEnd type="triangle" w="med" len="med"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latin typeface="Source Sans Pro" panose="020B0503030403020204" pitchFamily="34" charset="0"/>
              </a:rPr>
              <a:t>Prevention TWG</a:t>
            </a: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CC3426CB-B980-59FD-D735-62AA03664712}"/>
              </a:ext>
            </a:extLst>
          </p:cNvPr>
          <p:cNvSpPr txBox="1"/>
          <p:nvPr/>
        </p:nvSpPr>
        <p:spPr>
          <a:xfrm>
            <a:off x="11004611" y="4305487"/>
            <a:ext cx="913442" cy="307777"/>
          </a:xfrm>
          <a:prstGeom prst="rect">
            <a:avLst/>
          </a:prstGeom>
          <a:solidFill>
            <a:schemeClr val="bg1"/>
          </a:solidFill>
          <a:ln w="19050">
            <a:solidFill>
              <a:schemeClr val="tx1">
                <a:lumMod val="50000"/>
                <a:lumOff val="50000"/>
              </a:schemeClr>
            </a:solidFill>
            <a:headEnd type="none" w="med" len="med"/>
            <a:tailEnd type="triangle" w="med" len="med"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latin typeface="Source Sans Pro" panose="020B0503030403020204" pitchFamily="34" charset="0"/>
              </a:rPr>
              <a:t>C&amp;T WG</a:t>
            </a: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F6D3A5FB-2F3C-6E66-52B7-7239AFAE3CE6}"/>
              </a:ext>
            </a:extLst>
          </p:cNvPr>
          <p:cNvSpPr txBox="1"/>
          <p:nvPr/>
        </p:nvSpPr>
        <p:spPr>
          <a:xfrm>
            <a:off x="6347426" y="4823940"/>
            <a:ext cx="1377054" cy="307777"/>
          </a:xfrm>
          <a:prstGeom prst="rect">
            <a:avLst/>
          </a:prstGeom>
          <a:noFill/>
          <a:ln w="19050">
            <a:solidFill>
              <a:schemeClr val="tx1">
                <a:lumMod val="50000"/>
                <a:lumOff val="50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latin typeface="Source Sans Pro" panose="020B0503030403020204" pitchFamily="34" charset="0"/>
              </a:rPr>
              <a:t>CCC-GFATM</a:t>
            </a: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E1465BE4-09D4-5E50-3B08-ECCEE5CC83F2}"/>
              </a:ext>
            </a:extLst>
          </p:cNvPr>
          <p:cNvSpPr txBox="1"/>
          <p:nvPr/>
        </p:nvSpPr>
        <p:spPr>
          <a:xfrm>
            <a:off x="9526873" y="4861263"/>
            <a:ext cx="1377054" cy="307777"/>
          </a:xfrm>
          <a:prstGeom prst="rect">
            <a:avLst/>
          </a:prstGeom>
          <a:noFill/>
          <a:ln w="19050">
            <a:solidFill>
              <a:schemeClr val="tx1">
                <a:lumMod val="50000"/>
                <a:lumOff val="50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latin typeface="Source Sans Pro" panose="020B0503030403020204" pitchFamily="34" charset="0"/>
              </a:rPr>
              <a:t>NCHADS</a:t>
            </a: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D37ACCF7-5E4E-3700-0F90-00AE072F917D}"/>
              </a:ext>
            </a:extLst>
          </p:cNvPr>
          <p:cNvSpPr txBox="1"/>
          <p:nvPr/>
        </p:nvSpPr>
        <p:spPr>
          <a:xfrm>
            <a:off x="2950060" y="4837129"/>
            <a:ext cx="1377054" cy="307777"/>
          </a:xfrm>
          <a:prstGeom prst="rect">
            <a:avLst/>
          </a:prstGeom>
          <a:noFill/>
          <a:ln w="19050">
            <a:solidFill>
              <a:schemeClr val="tx1">
                <a:lumMod val="50000"/>
                <a:lumOff val="50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latin typeface="Source Sans Pro" panose="020B0503030403020204" pitchFamily="34" charset="0"/>
              </a:rPr>
              <a:t>NAA</a:t>
            </a:r>
          </a:p>
        </p:txBody>
      </p:sp>
      <p:sp>
        <p:nvSpPr>
          <p:cNvPr id="73" name="Oval 72">
            <a:extLst>
              <a:ext uri="{FF2B5EF4-FFF2-40B4-BE49-F238E27FC236}">
                <a16:creationId xmlns:a16="http://schemas.microsoft.com/office/drawing/2014/main" id="{373B8644-80E2-7B29-2AD9-DB70F92DF180}"/>
              </a:ext>
            </a:extLst>
          </p:cNvPr>
          <p:cNvSpPr/>
          <p:nvPr/>
        </p:nvSpPr>
        <p:spPr>
          <a:xfrm>
            <a:off x="1310552" y="2182357"/>
            <a:ext cx="78093" cy="78093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74" name="Connector: Elbow 73">
            <a:extLst>
              <a:ext uri="{FF2B5EF4-FFF2-40B4-BE49-F238E27FC236}">
                <a16:creationId xmlns:a16="http://schemas.microsoft.com/office/drawing/2014/main" id="{8BC06078-7CF2-CF7D-533A-6EE7C08EE4B8}"/>
              </a:ext>
            </a:extLst>
          </p:cNvPr>
          <p:cNvCxnSpPr>
            <a:cxnSpLocks/>
            <a:stCxn id="28" idx="2"/>
            <a:endCxn id="65" idx="0"/>
          </p:cNvCxnSpPr>
          <p:nvPr/>
        </p:nvCxnSpPr>
        <p:spPr>
          <a:xfrm rot="5400000">
            <a:off x="4679940" y="1943950"/>
            <a:ext cx="572424" cy="4149012"/>
          </a:xfrm>
          <a:prstGeom prst="bentConnector3">
            <a:avLst>
              <a:gd name="adj1" fmla="val 50000"/>
            </a:avLst>
          </a:prstGeom>
          <a:ln w="1905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Connector: Elbow 74">
            <a:extLst>
              <a:ext uri="{FF2B5EF4-FFF2-40B4-BE49-F238E27FC236}">
                <a16:creationId xmlns:a16="http://schemas.microsoft.com/office/drawing/2014/main" id="{4E125464-BEDC-2628-17DE-80810CE866A9}"/>
              </a:ext>
            </a:extLst>
          </p:cNvPr>
          <p:cNvCxnSpPr>
            <a:cxnSpLocks/>
            <a:stCxn id="28" idx="2"/>
            <a:endCxn id="68" idx="0"/>
          </p:cNvCxnSpPr>
          <p:nvPr/>
        </p:nvCxnSpPr>
        <p:spPr>
          <a:xfrm rot="16200000" flipH="1">
            <a:off x="7865603" y="2907298"/>
            <a:ext cx="578395" cy="2228285"/>
          </a:xfrm>
          <a:prstGeom prst="bentConnector3">
            <a:avLst>
              <a:gd name="adj1" fmla="val 50000"/>
            </a:avLst>
          </a:prstGeom>
          <a:ln w="1905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Connector: Elbow 75">
            <a:extLst>
              <a:ext uri="{FF2B5EF4-FFF2-40B4-BE49-F238E27FC236}">
                <a16:creationId xmlns:a16="http://schemas.microsoft.com/office/drawing/2014/main" id="{4C0836F2-1C0D-5D9D-90F4-A03876CF1D3C}"/>
              </a:ext>
            </a:extLst>
          </p:cNvPr>
          <p:cNvCxnSpPr>
            <a:cxnSpLocks/>
            <a:stCxn id="28" idx="2"/>
            <a:endCxn id="66" idx="0"/>
          </p:cNvCxnSpPr>
          <p:nvPr/>
        </p:nvCxnSpPr>
        <p:spPr>
          <a:xfrm rot="5400000">
            <a:off x="5427652" y="2691662"/>
            <a:ext cx="572424" cy="2653589"/>
          </a:xfrm>
          <a:prstGeom prst="bentConnector3">
            <a:avLst>
              <a:gd name="adj1" fmla="val 50000"/>
            </a:avLst>
          </a:prstGeom>
          <a:ln w="1905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Connector: Elbow 76">
            <a:extLst>
              <a:ext uri="{FF2B5EF4-FFF2-40B4-BE49-F238E27FC236}">
                <a16:creationId xmlns:a16="http://schemas.microsoft.com/office/drawing/2014/main" id="{41C823D5-1799-524C-0A0E-B5B7AB08BFAC}"/>
              </a:ext>
            </a:extLst>
          </p:cNvPr>
          <p:cNvCxnSpPr>
            <a:cxnSpLocks/>
            <a:stCxn id="28" idx="2"/>
            <a:endCxn id="64" idx="0"/>
          </p:cNvCxnSpPr>
          <p:nvPr/>
        </p:nvCxnSpPr>
        <p:spPr>
          <a:xfrm rot="16200000" flipH="1">
            <a:off x="8482501" y="2290400"/>
            <a:ext cx="578396" cy="3462083"/>
          </a:xfrm>
          <a:prstGeom prst="bentConnector3">
            <a:avLst>
              <a:gd name="adj1" fmla="val 50000"/>
            </a:avLst>
          </a:prstGeom>
          <a:ln w="1905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Connector: Elbow 77">
            <a:extLst>
              <a:ext uri="{FF2B5EF4-FFF2-40B4-BE49-F238E27FC236}">
                <a16:creationId xmlns:a16="http://schemas.microsoft.com/office/drawing/2014/main" id="{0679A5DD-863C-85D2-A4BA-2A1811C88DF0}"/>
              </a:ext>
            </a:extLst>
          </p:cNvPr>
          <p:cNvCxnSpPr>
            <a:cxnSpLocks/>
            <a:stCxn id="28" idx="2"/>
            <a:endCxn id="69" idx="0"/>
          </p:cNvCxnSpPr>
          <p:nvPr/>
        </p:nvCxnSpPr>
        <p:spPr>
          <a:xfrm rot="16200000" flipH="1">
            <a:off x="8964374" y="1808528"/>
            <a:ext cx="573243" cy="4420674"/>
          </a:xfrm>
          <a:prstGeom prst="bentConnector3">
            <a:avLst>
              <a:gd name="adj1" fmla="val 50000"/>
            </a:avLst>
          </a:prstGeom>
          <a:ln w="1905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Straight Arrow Connector 78">
            <a:extLst>
              <a:ext uri="{FF2B5EF4-FFF2-40B4-BE49-F238E27FC236}">
                <a16:creationId xmlns:a16="http://schemas.microsoft.com/office/drawing/2014/main" id="{E867743D-9E38-52A1-2D12-2FA20DEA041E}"/>
              </a:ext>
            </a:extLst>
          </p:cNvPr>
          <p:cNvCxnSpPr>
            <a:cxnSpLocks/>
            <a:stCxn id="28" idx="2"/>
            <a:endCxn id="67" idx="0"/>
          </p:cNvCxnSpPr>
          <p:nvPr/>
        </p:nvCxnSpPr>
        <p:spPr>
          <a:xfrm flipH="1">
            <a:off x="7035953" y="3732244"/>
            <a:ext cx="4705" cy="517348"/>
          </a:xfrm>
          <a:prstGeom prst="straightConnector1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" name="Connector: Elbow 79">
            <a:extLst>
              <a:ext uri="{FF2B5EF4-FFF2-40B4-BE49-F238E27FC236}">
                <a16:creationId xmlns:a16="http://schemas.microsoft.com/office/drawing/2014/main" id="{8FF64CC0-468A-4EC3-FCBB-2180F97B1127}"/>
              </a:ext>
            </a:extLst>
          </p:cNvPr>
          <p:cNvCxnSpPr>
            <a:cxnSpLocks/>
            <a:stCxn id="66" idx="2"/>
            <a:endCxn id="72" idx="0"/>
          </p:cNvCxnSpPr>
          <p:nvPr/>
        </p:nvCxnSpPr>
        <p:spPr>
          <a:xfrm rot="5400000">
            <a:off x="3900486" y="4350546"/>
            <a:ext cx="224684" cy="748482"/>
          </a:xfrm>
          <a:prstGeom prst="bentConnector3">
            <a:avLst>
              <a:gd name="adj1" fmla="val 50000"/>
            </a:avLst>
          </a:prstGeom>
          <a:ln w="1905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Connector: Elbow 80">
            <a:extLst>
              <a:ext uri="{FF2B5EF4-FFF2-40B4-BE49-F238E27FC236}">
                <a16:creationId xmlns:a16="http://schemas.microsoft.com/office/drawing/2014/main" id="{7820572B-3E55-9F71-2777-8A723AF39C50}"/>
              </a:ext>
            </a:extLst>
          </p:cNvPr>
          <p:cNvCxnSpPr>
            <a:cxnSpLocks/>
            <a:stCxn id="65" idx="2"/>
            <a:endCxn id="72" idx="0"/>
          </p:cNvCxnSpPr>
          <p:nvPr/>
        </p:nvCxnSpPr>
        <p:spPr>
          <a:xfrm rot="16200000" flipH="1">
            <a:off x="3152774" y="4351316"/>
            <a:ext cx="224684" cy="746941"/>
          </a:xfrm>
          <a:prstGeom prst="bentConnector3">
            <a:avLst>
              <a:gd name="adj1" fmla="val 50000"/>
            </a:avLst>
          </a:prstGeom>
          <a:ln w="1905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Connector: Elbow 81">
            <a:extLst>
              <a:ext uri="{FF2B5EF4-FFF2-40B4-BE49-F238E27FC236}">
                <a16:creationId xmlns:a16="http://schemas.microsoft.com/office/drawing/2014/main" id="{1C71BE09-2D72-99A5-727A-33089B093AF8}"/>
              </a:ext>
            </a:extLst>
          </p:cNvPr>
          <p:cNvCxnSpPr>
            <a:cxnSpLocks/>
            <a:stCxn id="68" idx="2"/>
            <a:endCxn id="71" idx="0"/>
          </p:cNvCxnSpPr>
          <p:nvPr/>
        </p:nvCxnSpPr>
        <p:spPr>
          <a:xfrm rot="16200000" flipH="1">
            <a:off x="9620748" y="4266610"/>
            <a:ext cx="242847" cy="946457"/>
          </a:xfrm>
          <a:prstGeom prst="bentConnector3">
            <a:avLst>
              <a:gd name="adj1" fmla="val 50000"/>
            </a:avLst>
          </a:prstGeom>
          <a:ln w="1905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Connector: Elbow 82">
            <a:extLst>
              <a:ext uri="{FF2B5EF4-FFF2-40B4-BE49-F238E27FC236}">
                <a16:creationId xmlns:a16="http://schemas.microsoft.com/office/drawing/2014/main" id="{B1EB5BFC-690E-7BC3-9143-17B6CF5BAE61}"/>
              </a:ext>
            </a:extLst>
          </p:cNvPr>
          <p:cNvCxnSpPr>
            <a:cxnSpLocks/>
            <a:stCxn id="69" idx="2"/>
            <a:endCxn id="71" idx="0"/>
          </p:cNvCxnSpPr>
          <p:nvPr/>
        </p:nvCxnSpPr>
        <p:spPr>
          <a:xfrm rot="5400000">
            <a:off x="10714367" y="4114297"/>
            <a:ext cx="247999" cy="1245932"/>
          </a:xfrm>
          <a:prstGeom prst="bentConnector3">
            <a:avLst>
              <a:gd name="adj1" fmla="val 50000"/>
            </a:avLst>
          </a:prstGeom>
          <a:ln w="1905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" name="Connector: Elbow 83">
            <a:extLst>
              <a:ext uri="{FF2B5EF4-FFF2-40B4-BE49-F238E27FC236}">
                <a16:creationId xmlns:a16="http://schemas.microsoft.com/office/drawing/2014/main" id="{8732EE05-9300-38FB-D872-EFEDFF733B77}"/>
              </a:ext>
            </a:extLst>
          </p:cNvPr>
          <p:cNvCxnSpPr>
            <a:cxnSpLocks/>
            <a:stCxn id="64" idx="2"/>
            <a:endCxn id="71" idx="0"/>
          </p:cNvCxnSpPr>
          <p:nvPr/>
        </p:nvCxnSpPr>
        <p:spPr>
          <a:xfrm rot="5400000">
            <a:off x="10237648" y="4596170"/>
            <a:ext cx="242846" cy="287341"/>
          </a:xfrm>
          <a:prstGeom prst="bentConnector3">
            <a:avLst>
              <a:gd name="adj1" fmla="val 50000"/>
            </a:avLst>
          </a:prstGeom>
          <a:ln w="1905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Straight Arrow Connector 84">
            <a:extLst>
              <a:ext uri="{FF2B5EF4-FFF2-40B4-BE49-F238E27FC236}">
                <a16:creationId xmlns:a16="http://schemas.microsoft.com/office/drawing/2014/main" id="{EF84C10C-E180-DE0D-E943-1657A156E6C6}"/>
              </a:ext>
            </a:extLst>
          </p:cNvPr>
          <p:cNvCxnSpPr>
            <a:cxnSpLocks/>
            <a:stCxn id="67" idx="2"/>
            <a:endCxn id="70" idx="0"/>
          </p:cNvCxnSpPr>
          <p:nvPr/>
        </p:nvCxnSpPr>
        <p:spPr>
          <a:xfrm>
            <a:off x="7035953" y="4557369"/>
            <a:ext cx="0" cy="266571"/>
          </a:xfrm>
          <a:prstGeom prst="straightConnector1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TextBox 85">
            <a:extLst>
              <a:ext uri="{FF2B5EF4-FFF2-40B4-BE49-F238E27FC236}">
                <a16:creationId xmlns:a16="http://schemas.microsoft.com/office/drawing/2014/main" id="{7E1731E0-7C32-9069-CFDD-6B77FFAA1EB0}"/>
              </a:ext>
            </a:extLst>
          </p:cNvPr>
          <p:cNvSpPr txBox="1"/>
          <p:nvPr/>
        </p:nvSpPr>
        <p:spPr>
          <a:xfrm>
            <a:off x="6010403" y="3998815"/>
            <a:ext cx="1268015" cy="21544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800" dirty="0">
                <a:latin typeface="Source Sans Pro" panose="020B0503030403020204" pitchFamily="34" charset="0"/>
              </a:rPr>
              <a:t>Using information</a:t>
            </a:r>
          </a:p>
        </p:txBody>
      </p:sp>
      <p:cxnSp>
        <p:nvCxnSpPr>
          <p:cNvPr id="87" name="Straight Arrow Connector 86">
            <a:extLst>
              <a:ext uri="{FF2B5EF4-FFF2-40B4-BE49-F238E27FC236}">
                <a16:creationId xmlns:a16="http://schemas.microsoft.com/office/drawing/2014/main" id="{2B4AECB6-B22E-27D8-40FE-B73C2102D6B7}"/>
              </a:ext>
            </a:extLst>
          </p:cNvPr>
          <p:cNvCxnSpPr>
            <a:cxnSpLocks/>
          </p:cNvCxnSpPr>
          <p:nvPr/>
        </p:nvCxnSpPr>
        <p:spPr>
          <a:xfrm flipV="1">
            <a:off x="7356254" y="3756079"/>
            <a:ext cx="0" cy="204705"/>
          </a:xfrm>
          <a:prstGeom prst="straightConnector1">
            <a:avLst/>
          </a:prstGeom>
          <a:ln w="190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Straight Arrow Connector 87">
            <a:extLst>
              <a:ext uri="{FF2B5EF4-FFF2-40B4-BE49-F238E27FC236}">
                <a16:creationId xmlns:a16="http://schemas.microsoft.com/office/drawing/2014/main" id="{AA5BEF83-9F66-8EF5-391A-38C9E5F29FBF}"/>
              </a:ext>
            </a:extLst>
          </p:cNvPr>
          <p:cNvCxnSpPr>
            <a:cxnSpLocks/>
          </p:cNvCxnSpPr>
          <p:nvPr/>
        </p:nvCxnSpPr>
        <p:spPr>
          <a:xfrm flipV="1">
            <a:off x="9421274" y="4057057"/>
            <a:ext cx="0" cy="192535"/>
          </a:xfrm>
          <a:prstGeom prst="straightConnector1">
            <a:avLst/>
          </a:prstGeom>
          <a:ln w="190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Straight Arrow Connector 88">
            <a:extLst>
              <a:ext uri="{FF2B5EF4-FFF2-40B4-BE49-F238E27FC236}">
                <a16:creationId xmlns:a16="http://schemas.microsoft.com/office/drawing/2014/main" id="{F997329D-C17A-5CDC-B6AA-8E6DFAB8A4B7}"/>
              </a:ext>
            </a:extLst>
          </p:cNvPr>
          <p:cNvCxnSpPr>
            <a:cxnSpLocks/>
          </p:cNvCxnSpPr>
          <p:nvPr/>
        </p:nvCxnSpPr>
        <p:spPr>
          <a:xfrm flipV="1">
            <a:off x="10656851" y="4057057"/>
            <a:ext cx="0" cy="192535"/>
          </a:xfrm>
          <a:prstGeom prst="straightConnector1">
            <a:avLst/>
          </a:prstGeom>
          <a:ln w="190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" name="Straight Arrow Connector 89">
            <a:extLst>
              <a:ext uri="{FF2B5EF4-FFF2-40B4-BE49-F238E27FC236}">
                <a16:creationId xmlns:a16="http://schemas.microsoft.com/office/drawing/2014/main" id="{7416212E-8CF9-D1A5-5CD2-272077FB8DA6}"/>
              </a:ext>
            </a:extLst>
          </p:cNvPr>
          <p:cNvCxnSpPr>
            <a:cxnSpLocks/>
          </p:cNvCxnSpPr>
          <p:nvPr/>
        </p:nvCxnSpPr>
        <p:spPr>
          <a:xfrm flipV="1">
            <a:off x="11601731" y="4057057"/>
            <a:ext cx="0" cy="192535"/>
          </a:xfrm>
          <a:prstGeom prst="straightConnector1">
            <a:avLst/>
          </a:prstGeom>
          <a:ln w="190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" name="Straight Arrow Connector 90">
            <a:extLst>
              <a:ext uri="{FF2B5EF4-FFF2-40B4-BE49-F238E27FC236}">
                <a16:creationId xmlns:a16="http://schemas.microsoft.com/office/drawing/2014/main" id="{4B46C4F0-D736-BA96-856C-F188683DCAF2}"/>
              </a:ext>
            </a:extLst>
          </p:cNvPr>
          <p:cNvCxnSpPr>
            <a:cxnSpLocks/>
          </p:cNvCxnSpPr>
          <p:nvPr/>
        </p:nvCxnSpPr>
        <p:spPr>
          <a:xfrm flipV="1">
            <a:off x="2776824" y="4057057"/>
            <a:ext cx="0" cy="192535"/>
          </a:xfrm>
          <a:prstGeom prst="straightConnector1">
            <a:avLst/>
          </a:prstGeom>
          <a:ln w="190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Straight Arrow Connector 91">
            <a:extLst>
              <a:ext uri="{FF2B5EF4-FFF2-40B4-BE49-F238E27FC236}">
                <a16:creationId xmlns:a16="http://schemas.microsoft.com/office/drawing/2014/main" id="{19D69B79-7507-9997-B5CC-F3CAEABCF6AA}"/>
              </a:ext>
            </a:extLst>
          </p:cNvPr>
          <p:cNvCxnSpPr>
            <a:cxnSpLocks/>
          </p:cNvCxnSpPr>
          <p:nvPr/>
        </p:nvCxnSpPr>
        <p:spPr>
          <a:xfrm flipV="1">
            <a:off x="4230996" y="4057057"/>
            <a:ext cx="0" cy="192535"/>
          </a:xfrm>
          <a:prstGeom prst="straightConnector1">
            <a:avLst/>
          </a:prstGeom>
          <a:ln w="190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Straight Arrow Connector 92">
            <a:extLst>
              <a:ext uri="{FF2B5EF4-FFF2-40B4-BE49-F238E27FC236}">
                <a16:creationId xmlns:a16="http://schemas.microsoft.com/office/drawing/2014/main" id="{3997D9A1-E437-27F1-65F0-5E96764B2591}"/>
              </a:ext>
            </a:extLst>
          </p:cNvPr>
          <p:cNvCxnSpPr>
            <a:cxnSpLocks/>
          </p:cNvCxnSpPr>
          <p:nvPr/>
        </p:nvCxnSpPr>
        <p:spPr>
          <a:xfrm>
            <a:off x="9626653" y="6334060"/>
            <a:ext cx="392237" cy="0"/>
          </a:xfrm>
          <a:prstGeom prst="straightConnector1">
            <a:avLst/>
          </a:prstGeom>
          <a:ln w="2857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4" name="TextBox 93">
            <a:extLst>
              <a:ext uri="{FF2B5EF4-FFF2-40B4-BE49-F238E27FC236}">
                <a16:creationId xmlns:a16="http://schemas.microsoft.com/office/drawing/2014/main" id="{FCE74BED-41B0-6628-A0CA-4C455037F7C9}"/>
              </a:ext>
            </a:extLst>
          </p:cNvPr>
          <p:cNvSpPr txBox="1"/>
          <p:nvPr/>
        </p:nvSpPr>
        <p:spPr>
          <a:xfrm>
            <a:off x="10058041" y="6214418"/>
            <a:ext cx="1503073" cy="2308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900" dirty="0">
                <a:latin typeface="Source Sans Pro" panose="020B0503030403020204" pitchFamily="34" charset="0"/>
              </a:rPr>
              <a:t>Response from providers</a:t>
            </a:r>
          </a:p>
        </p:txBody>
      </p:sp>
      <p:sp>
        <p:nvSpPr>
          <p:cNvPr id="95" name="TextBox 94">
            <a:extLst>
              <a:ext uri="{FF2B5EF4-FFF2-40B4-BE49-F238E27FC236}">
                <a16:creationId xmlns:a16="http://schemas.microsoft.com/office/drawing/2014/main" id="{D475CAC8-AA1B-4F17-846B-9EBE39322EBF}"/>
              </a:ext>
            </a:extLst>
          </p:cNvPr>
          <p:cNvSpPr txBox="1"/>
          <p:nvPr/>
        </p:nvSpPr>
        <p:spPr>
          <a:xfrm>
            <a:off x="8444039" y="2709919"/>
            <a:ext cx="842350" cy="33855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800" dirty="0">
                <a:solidFill>
                  <a:srgbClr val="FF0000"/>
                </a:solidFill>
                <a:latin typeface="Source Sans Pro" panose="020B0503030403020204" pitchFamily="34" charset="0"/>
              </a:rPr>
              <a:t>Response from providers</a:t>
            </a:r>
          </a:p>
        </p:txBody>
      </p:sp>
      <p:cxnSp>
        <p:nvCxnSpPr>
          <p:cNvPr id="96" name="Straight Connector 95">
            <a:extLst>
              <a:ext uri="{FF2B5EF4-FFF2-40B4-BE49-F238E27FC236}">
                <a16:creationId xmlns:a16="http://schemas.microsoft.com/office/drawing/2014/main" id="{5892607E-04FF-D4C7-82A3-A5F00F503CDD}"/>
              </a:ext>
            </a:extLst>
          </p:cNvPr>
          <p:cNvCxnSpPr>
            <a:cxnSpLocks/>
          </p:cNvCxnSpPr>
          <p:nvPr/>
        </p:nvCxnSpPr>
        <p:spPr>
          <a:xfrm>
            <a:off x="356420" y="5708607"/>
            <a:ext cx="8033097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7" name="TextBox 96">
            <a:extLst>
              <a:ext uri="{FF2B5EF4-FFF2-40B4-BE49-F238E27FC236}">
                <a16:creationId xmlns:a16="http://schemas.microsoft.com/office/drawing/2014/main" id="{79F5BE6D-AF09-C010-E68C-BCD150F8D3C0}"/>
              </a:ext>
            </a:extLst>
          </p:cNvPr>
          <p:cNvSpPr txBox="1"/>
          <p:nvPr/>
        </p:nvSpPr>
        <p:spPr>
          <a:xfrm>
            <a:off x="259383" y="5403699"/>
            <a:ext cx="190863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cap="all" dirty="0"/>
              <a:t>Acronym</a:t>
            </a:r>
          </a:p>
        </p:txBody>
      </p:sp>
      <p:cxnSp>
        <p:nvCxnSpPr>
          <p:cNvPr id="98" name="Straight Arrow Connector 97">
            <a:extLst>
              <a:ext uri="{FF2B5EF4-FFF2-40B4-BE49-F238E27FC236}">
                <a16:creationId xmlns:a16="http://schemas.microsoft.com/office/drawing/2014/main" id="{96134D1A-A9EE-BE90-9B02-D5DE32090D36}"/>
              </a:ext>
            </a:extLst>
          </p:cNvPr>
          <p:cNvCxnSpPr>
            <a:cxnSpLocks/>
            <a:stCxn id="18" idx="2"/>
            <a:endCxn id="10" idx="0"/>
          </p:cNvCxnSpPr>
          <p:nvPr/>
        </p:nvCxnSpPr>
        <p:spPr>
          <a:xfrm>
            <a:off x="2618165" y="2832735"/>
            <a:ext cx="751" cy="250412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99" name="Table 98">
            <a:extLst>
              <a:ext uri="{FF2B5EF4-FFF2-40B4-BE49-F238E27FC236}">
                <a16:creationId xmlns:a16="http://schemas.microsoft.com/office/drawing/2014/main" id="{F82AFDF4-759B-B8F9-A038-19D398E503D1}"/>
              </a:ext>
            </a:extLst>
          </p:cNvPr>
          <p:cNvGraphicFramePr>
            <a:graphicFrameLocks noGrp="1"/>
          </p:cNvGraphicFramePr>
          <p:nvPr/>
        </p:nvGraphicFramePr>
        <p:xfrm>
          <a:off x="348349" y="5763744"/>
          <a:ext cx="3210162" cy="96428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66991">
                  <a:extLst>
                    <a:ext uri="{9D8B030D-6E8A-4147-A177-3AD203B41FA5}">
                      <a16:colId xmlns:a16="http://schemas.microsoft.com/office/drawing/2014/main" val="1354909893"/>
                    </a:ext>
                  </a:extLst>
                </a:gridCol>
                <a:gridCol w="2743171">
                  <a:extLst>
                    <a:ext uri="{9D8B030D-6E8A-4147-A177-3AD203B41FA5}">
                      <a16:colId xmlns:a16="http://schemas.microsoft.com/office/drawing/2014/main" val="364595037"/>
                    </a:ext>
                  </a:extLst>
                </a:gridCol>
              </a:tblGrid>
              <a:tr h="107858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u="none" strike="noStrike" dirty="0">
                          <a:effectLst/>
                        </a:rPr>
                        <a:t>BC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Source Sans Pro" panose="020B0503030403020204" pitchFamily="34" charset="0"/>
                      </a:endParaRPr>
                    </a:p>
                  </a:txBody>
                  <a:tcPr marL="5156" marR="5156" marT="5156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 dirty="0">
                          <a:effectLst/>
                        </a:rPr>
                        <a:t>Bandanh Chaktomuk (MSM/TG network)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56" marR="5156" marT="5156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28582464"/>
                  </a:ext>
                </a:extLst>
              </a:tr>
              <a:tr h="129235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u="none" strike="noStrike" dirty="0">
                          <a:effectLst/>
                        </a:rPr>
                        <a:t>BIACM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Source Sans Pro" panose="020B0503030403020204" pitchFamily="34" charset="0"/>
                      </a:endParaRPr>
                    </a:p>
                  </a:txBody>
                  <a:tcPr marL="5156" marR="5156" marT="5156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 dirty="0">
                          <a:effectLst/>
                        </a:rPr>
                        <a:t>Boosted Integrated Active Case Management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56" marR="5156" marT="5156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9869255"/>
                  </a:ext>
                </a:extLst>
              </a:tr>
              <a:tr h="43726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u="none" strike="noStrike" dirty="0">
                          <a:effectLst/>
                        </a:rPr>
                        <a:t>C&amp;T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Source Sans Pro" panose="020B0503030403020204" pitchFamily="34" charset="0"/>
                      </a:endParaRPr>
                    </a:p>
                  </a:txBody>
                  <a:tcPr marL="5156" marR="5156" marT="5156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 dirty="0">
                          <a:effectLst/>
                        </a:rPr>
                        <a:t>Care and Treatment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56" marR="5156" marT="5156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2663820"/>
                  </a:ext>
                </a:extLst>
              </a:tr>
              <a:tr h="86481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u="none" strike="noStrike" dirty="0">
                          <a:effectLst/>
                        </a:rPr>
                        <a:t>CCC-CO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Source Sans Pro" panose="020B0503030403020204" pitchFamily="34" charset="0"/>
                      </a:endParaRPr>
                    </a:p>
                  </a:txBody>
                  <a:tcPr marL="5156" marR="5156" marT="5156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 dirty="0">
                          <a:effectLst/>
                        </a:rPr>
                        <a:t>Country Coordination Committee – Oversight Committee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56" marR="5156" marT="5156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67971673"/>
                  </a:ext>
                </a:extLst>
              </a:tr>
              <a:tr h="65103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u="none" strike="noStrike" dirty="0">
                          <a:effectLst/>
                        </a:rPr>
                        <a:t>CPN+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Source Sans Pro" panose="020B0503030403020204" pitchFamily="34" charset="0"/>
                      </a:endParaRPr>
                    </a:p>
                  </a:txBody>
                  <a:tcPr marL="5156" marR="5156" marT="5156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 dirty="0">
                          <a:effectLst/>
                        </a:rPr>
                        <a:t>Cambodia PLHIV Network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56" marR="5156" marT="5156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88520972"/>
                  </a:ext>
                </a:extLst>
              </a:tr>
              <a:tr h="129235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u="none" strike="noStrike" dirty="0">
                          <a:effectLst/>
                        </a:rPr>
                        <a:t>CWCC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Source Sans Pro" panose="020B0503030403020204" pitchFamily="34" charset="0"/>
                      </a:endParaRPr>
                    </a:p>
                  </a:txBody>
                  <a:tcPr marL="5156" marR="5156" marT="5156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 dirty="0">
                          <a:effectLst/>
                        </a:rPr>
                        <a:t>Commune Women and Children Committee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56" marR="5156" marT="5156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49628652"/>
                  </a:ext>
                </a:extLst>
              </a:tr>
              <a:tr h="129235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u="none" strike="noStrike" dirty="0">
                          <a:effectLst/>
                        </a:rPr>
                        <a:t>DFONPAM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Source Sans Pro" panose="020B0503030403020204" pitchFamily="34" charset="0"/>
                      </a:endParaRPr>
                    </a:p>
                  </a:txBody>
                  <a:tcPr marL="5156" marR="5156" marT="5156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 dirty="0">
                          <a:effectLst/>
                        </a:rPr>
                        <a:t>District Forum of Network for PLHIV and Most at Risk Population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56" marR="5156" marT="5156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09211099"/>
                  </a:ext>
                </a:extLst>
              </a:tr>
              <a:tr h="129235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u="none" strike="noStrike" dirty="0">
                          <a:effectLst/>
                        </a:rPr>
                        <a:t>CNPUD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Source Sans Pro" panose="020B0503030403020204" pitchFamily="34" charset="0"/>
                      </a:endParaRPr>
                    </a:p>
                  </a:txBody>
                  <a:tcPr marL="5156" marR="5156" marT="5156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 dirty="0">
                          <a:effectLst/>
                        </a:rPr>
                        <a:t>Cambodian Network of people who use drugs 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156" marR="5156" marT="5156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4862638"/>
                  </a:ext>
                </a:extLst>
              </a:tr>
            </a:tbl>
          </a:graphicData>
        </a:graphic>
      </p:graphicFrame>
      <p:graphicFrame>
        <p:nvGraphicFramePr>
          <p:cNvPr id="100" name="Table 99">
            <a:extLst>
              <a:ext uri="{FF2B5EF4-FFF2-40B4-BE49-F238E27FC236}">
                <a16:creationId xmlns:a16="http://schemas.microsoft.com/office/drawing/2014/main" id="{8BAE3ED5-71FC-702D-32F2-8818BD1C8F20}"/>
              </a:ext>
            </a:extLst>
          </p:cNvPr>
          <p:cNvGraphicFramePr>
            <a:graphicFrameLocks noGrp="1"/>
          </p:cNvGraphicFramePr>
          <p:nvPr/>
        </p:nvGraphicFramePr>
        <p:xfrm>
          <a:off x="3546098" y="5763744"/>
          <a:ext cx="2385243" cy="101496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65345">
                  <a:extLst>
                    <a:ext uri="{9D8B030D-6E8A-4147-A177-3AD203B41FA5}">
                      <a16:colId xmlns:a16="http://schemas.microsoft.com/office/drawing/2014/main" val="10714242"/>
                    </a:ext>
                  </a:extLst>
                </a:gridCol>
                <a:gridCol w="1919898">
                  <a:extLst>
                    <a:ext uri="{9D8B030D-6E8A-4147-A177-3AD203B41FA5}">
                      <a16:colId xmlns:a16="http://schemas.microsoft.com/office/drawing/2014/main" val="1978095481"/>
                    </a:ext>
                  </a:extLst>
                </a:gridCol>
              </a:tblGrid>
              <a:tr h="57844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u="none" strike="noStrike" dirty="0">
                          <a:effectLst/>
                        </a:rPr>
                        <a:t>EW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Source Sans Pro" panose="020B0503030403020204" pitchFamily="34" charset="0"/>
                      </a:endParaRPr>
                    </a:p>
                  </a:txBody>
                  <a:tcPr marL="6094" marR="6094" marT="6094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 dirty="0">
                          <a:effectLst/>
                        </a:rPr>
                        <a:t>Entertainment Workers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94" marR="6094" marT="6094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70027972"/>
                  </a:ext>
                </a:extLst>
              </a:tr>
              <a:tr h="87287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u="none" strike="noStrike" dirty="0">
                          <a:effectLst/>
                        </a:rPr>
                        <a:t>EWNet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Source Sans Pro" panose="020B0503030403020204" pitchFamily="34" charset="0"/>
                      </a:endParaRPr>
                    </a:p>
                  </a:txBody>
                  <a:tcPr marL="6094" marR="6094" marT="6094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 dirty="0">
                          <a:effectLst/>
                        </a:rPr>
                        <a:t>National Entertainment Worker Network 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94" marR="6094" marT="6094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55574743"/>
                  </a:ext>
                </a:extLst>
              </a:tr>
              <a:tr h="69987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u="none" strike="noStrike" dirty="0">
                          <a:effectLst/>
                        </a:rPr>
                        <a:t>GFATM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Source Sans Pro" panose="020B0503030403020204" pitchFamily="34" charset="0"/>
                      </a:endParaRPr>
                    </a:p>
                  </a:txBody>
                  <a:tcPr marL="6094" marR="6094" marT="6094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 dirty="0">
                          <a:effectLst/>
                        </a:rPr>
                        <a:t>Global Fund to Fight AIDS, TB and Malaria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94" marR="6094" marT="6094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79196822"/>
                  </a:ext>
                </a:extLst>
              </a:tr>
              <a:tr h="57844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u="none" strike="noStrike" dirty="0">
                          <a:effectLst/>
                        </a:rPr>
                        <a:t>GOV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Source Sans Pro" panose="020B0503030403020204" pitchFamily="34" charset="0"/>
                      </a:endParaRPr>
                    </a:p>
                  </a:txBody>
                  <a:tcPr marL="6094" marR="6094" marT="6094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 dirty="0">
                          <a:effectLst/>
                        </a:rPr>
                        <a:t>Group of Champoin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94" marR="6094" marT="6094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4727316"/>
                  </a:ext>
                </a:extLst>
              </a:tr>
              <a:tr h="69987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u="none" strike="noStrike" dirty="0">
                          <a:effectLst/>
                        </a:rPr>
                        <a:t>HACC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Source Sans Pro" panose="020B0503030403020204" pitchFamily="34" charset="0"/>
                      </a:endParaRPr>
                    </a:p>
                  </a:txBody>
                  <a:tcPr marL="6094" marR="6094" marT="6094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 dirty="0">
                          <a:effectLst/>
                        </a:rPr>
                        <a:t>Health Action Coordination Committee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94" marR="6094" marT="6094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1748138"/>
                  </a:ext>
                </a:extLst>
              </a:tr>
              <a:tr h="57844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u="none" strike="noStrike" dirty="0">
                          <a:effectLst/>
                        </a:rPr>
                        <a:t>HTS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Source Sans Pro" panose="020B0503030403020204" pitchFamily="34" charset="0"/>
                      </a:endParaRPr>
                    </a:p>
                  </a:txBody>
                  <a:tcPr marL="6094" marR="6094" marT="6094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 dirty="0">
                          <a:effectLst/>
                        </a:rPr>
                        <a:t>HIV Testing Service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94" marR="6094" marT="6094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81131405"/>
                  </a:ext>
                </a:extLst>
              </a:tr>
              <a:tr h="57844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u="none" strike="noStrike" dirty="0">
                          <a:effectLst/>
                        </a:rPr>
                        <a:t>KP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Source Sans Pro" panose="020B0503030403020204" pitchFamily="34" charset="0"/>
                      </a:endParaRPr>
                    </a:p>
                  </a:txBody>
                  <a:tcPr marL="6094" marR="6094" marT="6094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 dirty="0">
                          <a:effectLst/>
                        </a:rPr>
                        <a:t>Key Population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94" marR="6094" marT="6094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66184534"/>
                  </a:ext>
                </a:extLst>
              </a:tr>
              <a:tr h="69987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u="none" strike="noStrike" dirty="0">
                          <a:effectLst/>
                        </a:rPr>
                        <a:t>MAC 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Source Sans Pro" panose="020B0503030403020204" pitchFamily="34" charset="0"/>
                      </a:endParaRPr>
                    </a:p>
                  </a:txBody>
                  <a:tcPr marL="6094" marR="6094" marT="6094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 dirty="0">
                          <a:effectLst/>
                        </a:rPr>
                        <a:t>Municipality AIDS Committee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94" marR="6094" marT="6094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35313864"/>
                  </a:ext>
                </a:extLst>
              </a:tr>
              <a:tr h="42001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u="none" strike="noStrike" dirty="0">
                          <a:effectLst/>
                        </a:rPr>
                        <a:t>MSM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Source Sans Pro" panose="020B0503030403020204" pitchFamily="34" charset="0"/>
                      </a:endParaRPr>
                    </a:p>
                  </a:txBody>
                  <a:tcPr marL="6094" marR="6094" marT="6094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 dirty="0">
                          <a:effectLst/>
                        </a:rPr>
                        <a:t>Man who have Sex with Man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94" marR="6094" marT="6094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3326762"/>
                  </a:ext>
                </a:extLst>
              </a:tr>
            </a:tbl>
          </a:graphicData>
        </a:graphic>
      </p:graphicFrame>
      <p:graphicFrame>
        <p:nvGraphicFramePr>
          <p:cNvPr id="101" name="Table 100">
            <a:extLst>
              <a:ext uri="{FF2B5EF4-FFF2-40B4-BE49-F238E27FC236}">
                <a16:creationId xmlns:a16="http://schemas.microsoft.com/office/drawing/2014/main" id="{77978E0D-DDC2-E8DC-3AE4-17A77DFFAC3D}"/>
              </a:ext>
            </a:extLst>
          </p:cNvPr>
          <p:cNvGraphicFramePr>
            <a:graphicFrameLocks noGrp="1"/>
          </p:cNvGraphicFramePr>
          <p:nvPr/>
        </p:nvGraphicFramePr>
        <p:xfrm>
          <a:off x="6045452" y="5760037"/>
          <a:ext cx="2583608" cy="101865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57731">
                  <a:extLst>
                    <a:ext uri="{9D8B030D-6E8A-4147-A177-3AD203B41FA5}">
                      <a16:colId xmlns:a16="http://schemas.microsoft.com/office/drawing/2014/main" val="1930948113"/>
                    </a:ext>
                  </a:extLst>
                </a:gridCol>
                <a:gridCol w="2125877">
                  <a:extLst>
                    <a:ext uri="{9D8B030D-6E8A-4147-A177-3AD203B41FA5}">
                      <a16:colId xmlns:a16="http://schemas.microsoft.com/office/drawing/2014/main" val="1684926526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u="none" strike="noStrike" dirty="0">
                          <a:effectLst/>
                        </a:rPr>
                        <a:t>NCHADS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Source Sans Pro" panose="020B0503030403020204" pitchFamily="34" charset="0"/>
                      </a:endParaRPr>
                    </a:p>
                  </a:txBody>
                  <a:tcPr marL="6504" marR="6504" marT="6504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 dirty="0">
                          <a:effectLst/>
                        </a:rPr>
                        <a:t>National Center for HIV/AIDS, Dermatology and STD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504" marR="6504" marT="6504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4492550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u="none" strike="noStrike" dirty="0">
                          <a:effectLst/>
                        </a:rPr>
                        <a:t>PAC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Source Sans Pro" panose="020B0503030403020204" pitchFamily="34" charset="0"/>
                      </a:endParaRPr>
                    </a:p>
                  </a:txBody>
                  <a:tcPr marL="6504" marR="6504" marT="6504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 dirty="0">
                          <a:effectLst/>
                        </a:rPr>
                        <a:t>Provincial AIDS Committee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504" marR="6504" marT="6504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9128283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u="none" strike="noStrike" dirty="0">
                          <a:effectLst/>
                        </a:rPr>
                        <a:t>PLHIV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Source Sans Pro" panose="020B0503030403020204" pitchFamily="34" charset="0"/>
                      </a:endParaRPr>
                    </a:p>
                  </a:txBody>
                  <a:tcPr marL="6504" marR="6504" marT="6504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 dirty="0">
                          <a:effectLst/>
                        </a:rPr>
                        <a:t>People Living with HIV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504" marR="6504" marT="6504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9447357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u="none" strike="noStrike" dirty="0">
                          <a:effectLst/>
                        </a:rPr>
                        <a:t>ProTWG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Source Sans Pro" panose="020B0503030403020204" pitchFamily="34" charset="0"/>
                      </a:endParaRPr>
                    </a:p>
                  </a:txBody>
                  <a:tcPr marL="6504" marR="6504" marT="6504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 dirty="0">
                          <a:effectLst/>
                        </a:rPr>
                        <a:t>Provincial Technical Working Group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504" marR="6504" marT="6504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332330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u="none" strike="noStrike" dirty="0">
                          <a:effectLst/>
                        </a:rPr>
                        <a:t>PWID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Source Sans Pro" panose="020B0503030403020204" pitchFamily="34" charset="0"/>
                      </a:endParaRPr>
                    </a:p>
                  </a:txBody>
                  <a:tcPr marL="6504" marR="6504" marT="6504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 dirty="0">
                          <a:effectLst/>
                        </a:rPr>
                        <a:t>People Who Injecting Drug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504" marR="6504" marT="6504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7610249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u="none" strike="noStrike" dirty="0">
                          <a:effectLst/>
                        </a:rPr>
                        <a:t>SSI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Source Sans Pro" panose="020B0503030403020204" pitchFamily="34" charset="0"/>
                      </a:endParaRPr>
                    </a:p>
                  </a:txBody>
                  <a:tcPr marL="6504" marR="6504" marT="6504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 dirty="0">
                          <a:effectLst/>
                        </a:rPr>
                        <a:t>Sub-sub implementer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504" marR="6504" marT="6504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428434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u="none" strike="noStrike" dirty="0">
                          <a:effectLst/>
                        </a:rPr>
                        <a:t>TAB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Source Sans Pro" panose="020B0503030403020204" pitchFamily="34" charset="0"/>
                      </a:endParaRPr>
                    </a:p>
                  </a:txBody>
                  <a:tcPr marL="6504" marR="6504" marT="6504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 dirty="0">
                          <a:effectLst/>
                        </a:rPr>
                        <a:t>Technical Advisory Board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504" marR="6504" marT="6504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104067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u="none" strike="noStrike" dirty="0">
                          <a:effectLst/>
                        </a:rPr>
                        <a:t>TG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Source Sans Pro" panose="020B0503030403020204" pitchFamily="34" charset="0"/>
                      </a:endParaRPr>
                    </a:p>
                  </a:txBody>
                  <a:tcPr marL="6504" marR="6504" marT="6504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 dirty="0">
                          <a:effectLst/>
                        </a:rPr>
                        <a:t>Transgender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504" marR="6504" marT="6504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7820054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700" u="none" strike="noStrike" dirty="0">
                          <a:effectLst/>
                        </a:rPr>
                        <a:t>TWG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Source Sans Pro" panose="020B0503030403020204" pitchFamily="34" charset="0"/>
                      </a:endParaRPr>
                    </a:p>
                  </a:txBody>
                  <a:tcPr marL="6504" marR="6504" marT="6504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 dirty="0">
                          <a:effectLst/>
                        </a:rPr>
                        <a:t>Technical Working Group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504" marR="6504" marT="6504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08922036"/>
                  </a:ext>
                </a:extLst>
              </a:tr>
            </a:tbl>
          </a:graphicData>
        </a:graphic>
      </p:graphicFrame>
      <p:sp>
        <p:nvSpPr>
          <p:cNvPr id="102" name="Rectangle 101">
            <a:extLst>
              <a:ext uri="{FF2B5EF4-FFF2-40B4-BE49-F238E27FC236}">
                <a16:creationId xmlns:a16="http://schemas.microsoft.com/office/drawing/2014/main" id="{7992DE0D-3589-C3ED-0731-C55ED0CEE07C}"/>
              </a:ext>
            </a:extLst>
          </p:cNvPr>
          <p:cNvSpPr/>
          <p:nvPr/>
        </p:nvSpPr>
        <p:spPr>
          <a:xfrm>
            <a:off x="0" y="4491937"/>
            <a:ext cx="1912424" cy="81034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  <p:cxnSp>
        <p:nvCxnSpPr>
          <p:cNvPr id="103" name="Straight Arrow Connector 102">
            <a:extLst>
              <a:ext uri="{FF2B5EF4-FFF2-40B4-BE49-F238E27FC236}">
                <a16:creationId xmlns:a16="http://schemas.microsoft.com/office/drawing/2014/main" id="{6B1CA441-D863-6DA6-08CB-9F9963B9CAB4}"/>
              </a:ext>
            </a:extLst>
          </p:cNvPr>
          <p:cNvCxnSpPr>
            <a:cxnSpLocks/>
          </p:cNvCxnSpPr>
          <p:nvPr/>
        </p:nvCxnSpPr>
        <p:spPr>
          <a:xfrm>
            <a:off x="150928" y="4613316"/>
            <a:ext cx="392237" cy="0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Straight Arrow Connector 103">
            <a:extLst>
              <a:ext uri="{FF2B5EF4-FFF2-40B4-BE49-F238E27FC236}">
                <a16:creationId xmlns:a16="http://schemas.microsoft.com/office/drawing/2014/main" id="{68335B41-C8A3-C285-B25C-9B63C36A8658}"/>
              </a:ext>
            </a:extLst>
          </p:cNvPr>
          <p:cNvCxnSpPr>
            <a:cxnSpLocks/>
          </p:cNvCxnSpPr>
          <p:nvPr/>
        </p:nvCxnSpPr>
        <p:spPr>
          <a:xfrm>
            <a:off x="150928" y="4781991"/>
            <a:ext cx="392237" cy="0"/>
          </a:xfrm>
          <a:prstGeom prst="straightConnector1">
            <a:avLst/>
          </a:prstGeom>
          <a:ln w="28575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Straight Arrow Connector 104">
            <a:extLst>
              <a:ext uri="{FF2B5EF4-FFF2-40B4-BE49-F238E27FC236}">
                <a16:creationId xmlns:a16="http://schemas.microsoft.com/office/drawing/2014/main" id="{0AA01570-2C76-C6E6-8B02-1386F31AF01D}"/>
              </a:ext>
            </a:extLst>
          </p:cNvPr>
          <p:cNvCxnSpPr>
            <a:cxnSpLocks/>
          </p:cNvCxnSpPr>
          <p:nvPr/>
        </p:nvCxnSpPr>
        <p:spPr>
          <a:xfrm>
            <a:off x="150928" y="5151217"/>
            <a:ext cx="392237" cy="0"/>
          </a:xfrm>
          <a:prstGeom prst="straightConnector1">
            <a:avLst/>
          </a:prstGeom>
          <a:ln w="28575">
            <a:solidFill>
              <a:schemeClr val="tx1">
                <a:lumMod val="50000"/>
                <a:lumOff val="50000"/>
              </a:schemeClr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6" name="TextBox 105">
            <a:extLst>
              <a:ext uri="{FF2B5EF4-FFF2-40B4-BE49-F238E27FC236}">
                <a16:creationId xmlns:a16="http://schemas.microsoft.com/office/drawing/2014/main" id="{3D1640F5-055C-199B-60A8-D42DCC11E007}"/>
              </a:ext>
            </a:extLst>
          </p:cNvPr>
          <p:cNvSpPr txBox="1"/>
          <p:nvPr/>
        </p:nvSpPr>
        <p:spPr>
          <a:xfrm>
            <a:off x="582316" y="4491424"/>
            <a:ext cx="1503073" cy="21544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800" dirty="0">
                <a:latin typeface="Source Sans Pro" panose="020B0503030403020204" pitchFamily="34" charset="0"/>
              </a:rPr>
              <a:t>Gather information</a:t>
            </a:r>
          </a:p>
        </p:txBody>
      </p:sp>
      <p:sp>
        <p:nvSpPr>
          <p:cNvPr id="107" name="TextBox 106">
            <a:extLst>
              <a:ext uri="{FF2B5EF4-FFF2-40B4-BE49-F238E27FC236}">
                <a16:creationId xmlns:a16="http://schemas.microsoft.com/office/drawing/2014/main" id="{1D075DD9-2A98-038E-048C-4BB029D6D491}"/>
              </a:ext>
            </a:extLst>
          </p:cNvPr>
          <p:cNvSpPr txBox="1"/>
          <p:nvPr/>
        </p:nvSpPr>
        <p:spPr>
          <a:xfrm>
            <a:off x="582316" y="4662349"/>
            <a:ext cx="1503073" cy="21544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800" dirty="0">
                <a:latin typeface="Source Sans Pro" panose="020B0503030403020204" pitchFamily="34" charset="0"/>
              </a:rPr>
              <a:t>Using information</a:t>
            </a:r>
          </a:p>
        </p:txBody>
      </p:sp>
      <p:sp>
        <p:nvSpPr>
          <p:cNvPr id="108" name="TextBox 107">
            <a:extLst>
              <a:ext uri="{FF2B5EF4-FFF2-40B4-BE49-F238E27FC236}">
                <a16:creationId xmlns:a16="http://schemas.microsoft.com/office/drawing/2014/main" id="{8FDCF1C9-F98F-34EA-7B45-91A880A8872E}"/>
              </a:ext>
            </a:extLst>
          </p:cNvPr>
          <p:cNvSpPr txBox="1"/>
          <p:nvPr/>
        </p:nvSpPr>
        <p:spPr>
          <a:xfrm>
            <a:off x="582316" y="5033825"/>
            <a:ext cx="1503073" cy="21544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800" dirty="0">
                <a:latin typeface="Source Sans Pro" panose="020B0503030403020204" pitchFamily="34" charset="0"/>
              </a:rPr>
              <a:t>Feedback to community</a:t>
            </a:r>
          </a:p>
        </p:txBody>
      </p:sp>
      <p:cxnSp>
        <p:nvCxnSpPr>
          <p:cNvPr id="109" name="Straight Arrow Connector 108">
            <a:extLst>
              <a:ext uri="{FF2B5EF4-FFF2-40B4-BE49-F238E27FC236}">
                <a16:creationId xmlns:a16="http://schemas.microsoft.com/office/drawing/2014/main" id="{6DDC70D7-530E-FA64-566C-F73B99E801DF}"/>
              </a:ext>
            </a:extLst>
          </p:cNvPr>
          <p:cNvCxnSpPr>
            <a:cxnSpLocks/>
          </p:cNvCxnSpPr>
          <p:nvPr/>
        </p:nvCxnSpPr>
        <p:spPr>
          <a:xfrm>
            <a:off x="150928" y="4975198"/>
            <a:ext cx="392237" cy="0"/>
          </a:xfrm>
          <a:prstGeom prst="straightConnector1">
            <a:avLst/>
          </a:prstGeom>
          <a:ln w="2857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0" name="TextBox 109">
            <a:extLst>
              <a:ext uri="{FF2B5EF4-FFF2-40B4-BE49-F238E27FC236}">
                <a16:creationId xmlns:a16="http://schemas.microsoft.com/office/drawing/2014/main" id="{043E4445-3D45-C0DF-B4B1-052740AF3A1B}"/>
              </a:ext>
            </a:extLst>
          </p:cNvPr>
          <p:cNvSpPr txBox="1"/>
          <p:nvPr/>
        </p:nvSpPr>
        <p:spPr>
          <a:xfrm>
            <a:off x="582316" y="4855556"/>
            <a:ext cx="1503073" cy="21544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800" dirty="0">
                <a:latin typeface="Source Sans Pro" panose="020B0503030403020204" pitchFamily="34" charset="0"/>
              </a:rPr>
              <a:t>Response from providers</a:t>
            </a:r>
          </a:p>
        </p:txBody>
      </p:sp>
      <p:sp>
        <p:nvSpPr>
          <p:cNvPr id="111" name="TextBox 110">
            <a:extLst>
              <a:ext uri="{FF2B5EF4-FFF2-40B4-BE49-F238E27FC236}">
                <a16:creationId xmlns:a16="http://schemas.microsoft.com/office/drawing/2014/main" id="{D2DAAE84-BF1A-F21D-298A-672E0A7BDEA0}"/>
              </a:ext>
            </a:extLst>
          </p:cNvPr>
          <p:cNvSpPr txBox="1"/>
          <p:nvPr/>
        </p:nvSpPr>
        <p:spPr>
          <a:xfrm>
            <a:off x="2132653" y="3595498"/>
            <a:ext cx="972525" cy="307777"/>
          </a:xfrm>
          <a:prstGeom prst="rect">
            <a:avLst/>
          </a:prstGeom>
          <a:noFill/>
          <a:ln w="19050">
            <a:solidFill>
              <a:schemeClr val="tx1">
                <a:lumMod val="50000"/>
                <a:lumOff val="50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latin typeface="Source Sans Pro" panose="020B0503030403020204" pitchFamily="34" charset="0"/>
              </a:rPr>
              <a:t>TA team</a:t>
            </a:r>
          </a:p>
        </p:txBody>
      </p:sp>
      <p:cxnSp>
        <p:nvCxnSpPr>
          <p:cNvPr id="112" name="Straight Arrow Connector 111">
            <a:extLst>
              <a:ext uri="{FF2B5EF4-FFF2-40B4-BE49-F238E27FC236}">
                <a16:creationId xmlns:a16="http://schemas.microsoft.com/office/drawing/2014/main" id="{73C747B3-D14E-9AD6-65A2-5444ED10547E}"/>
              </a:ext>
            </a:extLst>
          </p:cNvPr>
          <p:cNvCxnSpPr>
            <a:cxnSpLocks/>
            <a:stCxn id="111" idx="0"/>
            <a:endCxn id="10" idx="2"/>
          </p:cNvCxnSpPr>
          <p:nvPr/>
        </p:nvCxnSpPr>
        <p:spPr>
          <a:xfrm flipV="1">
            <a:off x="2618916" y="3390924"/>
            <a:ext cx="0" cy="204574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5888433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473A0C4-420F-8558-500A-DA17EC3A7FB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FAAB589C-1022-4463-DDB8-A712AFB3DD69}"/>
              </a:ext>
            </a:extLst>
          </p:cNvPr>
          <p:cNvSpPr/>
          <p:nvPr/>
        </p:nvSpPr>
        <p:spPr>
          <a:xfrm>
            <a:off x="223935" y="1187743"/>
            <a:ext cx="3722914" cy="5146628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1EB0F7D8-1DAC-A122-E535-C2A6B9B8BB56}"/>
              </a:ext>
            </a:extLst>
          </p:cNvPr>
          <p:cNvSpPr/>
          <p:nvPr/>
        </p:nvSpPr>
        <p:spPr>
          <a:xfrm>
            <a:off x="3946849" y="1187743"/>
            <a:ext cx="3722914" cy="5146628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49690F68-850D-C3C2-26FE-AE3AE221BC56}"/>
              </a:ext>
            </a:extLst>
          </p:cNvPr>
          <p:cNvSpPr/>
          <p:nvPr/>
        </p:nvSpPr>
        <p:spPr>
          <a:xfrm>
            <a:off x="7670012" y="1187743"/>
            <a:ext cx="3902827" cy="5146628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4BB02B69-0FC9-223A-D541-4630453CC47E}"/>
              </a:ext>
            </a:extLst>
          </p:cNvPr>
          <p:cNvSpPr txBox="1">
            <a:spLocks/>
          </p:cNvSpPr>
          <p:nvPr/>
        </p:nvSpPr>
        <p:spPr>
          <a:xfrm>
            <a:off x="1616364" y="259228"/>
            <a:ext cx="9737436" cy="900256"/>
          </a:xfrm>
          <a:prstGeom prst="rect">
            <a:avLst/>
          </a:prstGeom>
        </p:spPr>
        <p:txBody>
          <a:bodyPr spcFirstLastPara="1" wrap="square" lIns="91425" tIns="91425" rIns="91425" bIns="91425" anchor="t" anchorCtr="0"/>
          <a:lstStyle>
            <a:lvl1pPr lvl="0" algn="l" defTabSz="914400" rtl="0" eaLnBrk="1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NiDA OdorMeanChey" panose="02000500000000000000" pitchFamily="2" charset="0"/>
                <a:ea typeface="+mj-ea"/>
                <a:cs typeface="NiDA OdorMeanChey" panose="02000500000000000000" pitchFamily="2" charset="0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9pPr>
          </a:lstStyle>
          <a:p>
            <a:r>
              <a:rPr lang="km-KH" dirty="0">
                <a:solidFill>
                  <a:srgbClr val="002060"/>
                </a:solidFill>
                <a:latin typeface="Khmer OS Siemreap" panose="02000500000000020004" pitchFamily="2" charset="0"/>
                <a:cs typeface="Khmer OS Siemreap" panose="02000500000000020004" pitchFamily="2" charset="0"/>
              </a:rPr>
              <a:t>ឧបករណ៍ប្រមូលទិន្នន័យ</a:t>
            </a:r>
            <a:r>
              <a:rPr lang="en-US" dirty="0">
                <a:solidFill>
                  <a:srgbClr val="002060"/>
                </a:solidFill>
                <a:latin typeface="Khmer OS Siemreap" panose="02000500000000020004" pitchFamily="2" charset="0"/>
                <a:cs typeface="Khmer OS Siemreap" panose="02000500000000020004" pitchFamily="2" charset="0"/>
              </a:rPr>
              <a:t> </a:t>
            </a:r>
            <a:r>
              <a:rPr lang="km-KH" dirty="0">
                <a:solidFill>
                  <a:srgbClr val="002060"/>
                </a:solidFill>
                <a:latin typeface="Khmer OS Siemreap" panose="02000500000000020004" pitchFamily="2" charset="0"/>
                <a:cs typeface="Khmer OS Siemreap" panose="02000500000000020004" pitchFamily="2" charset="0"/>
              </a:rPr>
              <a:t>និងតំណភ្ជាប់</a:t>
            </a:r>
            <a:endParaRPr lang="en-US" dirty="0">
              <a:latin typeface="Khmer OS Siemreap" panose="02000500000000020004" pitchFamily="2" charset="0"/>
              <a:cs typeface="Khmer OS Siemreap" panose="02000500000000020004" pitchFamily="2" charset="0"/>
            </a:endParaRPr>
          </a:p>
        </p:txBody>
      </p:sp>
      <p:pic>
        <p:nvPicPr>
          <p:cNvPr id="25" name="Picture 24" descr="Qr code&#10;&#10;Description automatically generated">
            <a:extLst>
              <a:ext uri="{FF2B5EF4-FFF2-40B4-BE49-F238E27FC236}">
                <a16:creationId xmlns:a16="http://schemas.microsoft.com/office/drawing/2014/main" id="{E03FDE26-829F-B094-2FE9-5800B726C89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0156" y="1432516"/>
            <a:ext cx="822960" cy="822960"/>
          </a:xfrm>
          <a:prstGeom prst="rect">
            <a:avLst/>
          </a:prstGeom>
        </p:spPr>
      </p:pic>
      <p:pic>
        <p:nvPicPr>
          <p:cNvPr id="26" name="Picture 25" descr="Qr code&#10;&#10;Description automatically generated">
            <a:extLst>
              <a:ext uri="{FF2B5EF4-FFF2-40B4-BE49-F238E27FC236}">
                <a16:creationId xmlns:a16="http://schemas.microsoft.com/office/drawing/2014/main" id="{C247D697-C696-4866-9F50-C2376385CC7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00156" y="3255787"/>
            <a:ext cx="822960" cy="822960"/>
          </a:xfrm>
          <a:prstGeom prst="rect">
            <a:avLst/>
          </a:prstGeom>
        </p:spPr>
      </p:pic>
      <p:pic>
        <p:nvPicPr>
          <p:cNvPr id="27" name="Picture 26" descr="Qr code&#10;&#10;Description automatically generated">
            <a:extLst>
              <a:ext uri="{FF2B5EF4-FFF2-40B4-BE49-F238E27FC236}">
                <a16:creationId xmlns:a16="http://schemas.microsoft.com/office/drawing/2014/main" id="{D0AF5C27-96BC-2201-1983-7E6C65B5597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185399" y="1435839"/>
            <a:ext cx="822960" cy="822960"/>
          </a:xfrm>
          <a:prstGeom prst="rect">
            <a:avLst/>
          </a:prstGeom>
        </p:spPr>
      </p:pic>
      <p:pic>
        <p:nvPicPr>
          <p:cNvPr id="28" name="Picture 27" descr="Qr code&#10;&#10;Description automatically generated">
            <a:extLst>
              <a:ext uri="{FF2B5EF4-FFF2-40B4-BE49-F238E27FC236}">
                <a16:creationId xmlns:a16="http://schemas.microsoft.com/office/drawing/2014/main" id="{3B2EE7A2-3D89-4592-A6DB-70D33291A07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185788" y="3284390"/>
            <a:ext cx="822960" cy="822960"/>
          </a:xfrm>
          <a:prstGeom prst="rect">
            <a:avLst/>
          </a:prstGeom>
        </p:spPr>
      </p:pic>
      <p:pic>
        <p:nvPicPr>
          <p:cNvPr id="29" name="Picture 28" descr="Qr code&#10;&#10;Description automatically generated">
            <a:extLst>
              <a:ext uri="{FF2B5EF4-FFF2-40B4-BE49-F238E27FC236}">
                <a16:creationId xmlns:a16="http://schemas.microsoft.com/office/drawing/2014/main" id="{1F39727C-33F0-E81F-E6CA-C707C4157A2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843769" y="5220645"/>
            <a:ext cx="822960" cy="822960"/>
          </a:xfrm>
          <a:prstGeom prst="rect">
            <a:avLst/>
          </a:prstGeom>
        </p:spPr>
      </p:pic>
      <p:pic>
        <p:nvPicPr>
          <p:cNvPr id="30" name="Picture 29" descr="Qr code&#10;&#10;Description automatically generated">
            <a:extLst>
              <a:ext uri="{FF2B5EF4-FFF2-40B4-BE49-F238E27FC236}">
                <a16:creationId xmlns:a16="http://schemas.microsoft.com/office/drawing/2014/main" id="{5DA77CEE-FA99-88C4-BA15-F1AEB8CF037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843769" y="3300867"/>
            <a:ext cx="822960" cy="822960"/>
          </a:xfrm>
          <a:prstGeom prst="rect">
            <a:avLst/>
          </a:prstGeom>
        </p:spPr>
      </p:pic>
      <p:pic>
        <p:nvPicPr>
          <p:cNvPr id="31" name="Picture 30" descr="Qr code&#10;&#10;Description automatically generated">
            <a:extLst>
              <a:ext uri="{FF2B5EF4-FFF2-40B4-BE49-F238E27FC236}">
                <a16:creationId xmlns:a16="http://schemas.microsoft.com/office/drawing/2014/main" id="{B2BBE1A1-9F76-050C-9CEB-C69150F00C00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843769" y="1432516"/>
            <a:ext cx="822960" cy="822960"/>
          </a:xfrm>
          <a:prstGeom prst="rect">
            <a:avLst/>
          </a:prstGeom>
        </p:spPr>
      </p:pic>
      <p:sp>
        <p:nvSpPr>
          <p:cNvPr id="32" name="Content Placeholder 4">
            <a:extLst>
              <a:ext uri="{FF2B5EF4-FFF2-40B4-BE49-F238E27FC236}">
                <a16:creationId xmlns:a16="http://schemas.microsoft.com/office/drawing/2014/main" id="{161475E5-08F9-503F-89F0-00E347126363}"/>
              </a:ext>
            </a:extLst>
          </p:cNvPr>
          <p:cNvSpPr txBox="1">
            <a:spLocks/>
          </p:cNvSpPr>
          <p:nvPr/>
        </p:nvSpPr>
        <p:spPr>
          <a:xfrm>
            <a:off x="1283485" y="1486527"/>
            <a:ext cx="2663364" cy="1675254"/>
          </a:xfrm>
          <a:prstGeom prst="rect">
            <a:avLst/>
          </a:prstGeom>
        </p:spPr>
        <p:txBody>
          <a:bodyPr spcFirstLastPara="1" vert="horz" wrap="square" lIns="91425" tIns="91425" rIns="91425" bIns="91425" rtlCol="0" anchor="t" anchorCtr="0">
            <a:normAutofit fontScale="92500" lnSpcReduction="20000"/>
          </a:bodyPr>
          <a:lstStyle>
            <a:lvl1pPr marL="457200" lvl="0" indent="-419100" algn="l" defTabSz="914400" rtl="0" eaLnBrk="1" latinLnBrk="0" hangingPunct="1">
              <a:lnSpc>
                <a:spcPct val="150000"/>
              </a:lnSpc>
              <a:spcBef>
                <a:spcPts val="600"/>
              </a:spcBef>
              <a:spcAft>
                <a:spcPts val="0"/>
              </a:spcAft>
              <a:buClr>
                <a:srgbClr val="45AFDC"/>
              </a:buClr>
              <a:buSzPts val="3000"/>
              <a:buFont typeface="Courier New" panose="02070309020205020404" pitchFamily="49" charset="0"/>
              <a:buChar char="o"/>
              <a:defRPr sz="3000" kern="1200">
                <a:solidFill>
                  <a:schemeClr val="tx1">
                    <a:lumMod val="75000"/>
                    <a:lumOff val="25000"/>
                  </a:schemeClr>
                </a:solidFill>
                <a:latin typeface="Khmer OS Content" panose="02000500000000020004" pitchFamily="2" charset="0"/>
                <a:ea typeface="Open sans" panose="020B0606030504020204" charset="0"/>
                <a:cs typeface="Khmer OS Content" panose="02000500000000020004" pitchFamily="2" charset="0"/>
              </a:defRPr>
            </a:lvl1pPr>
            <a:lvl2pPr marL="914400" lvl="1" indent="-381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ts val="2400"/>
              <a:buFont typeface="Arial" pitchFamily="34" charset="0"/>
              <a:buChar char="●"/>
              <a:defRPr sz="28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371600" lvl="2" indent="-381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ts val="2400"/>
              <a:buFont typeface="Arial" pitchFamily="34" charset="0"/>
              <a:buChar char="■"/>
              <a:defRPr sz="24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828800" lvl="3" indent="-3429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ts val="1800"/>
              <a:buFont typeface="Arial" pitchFamily="34" charset="0"/>
              <a:buChar char="●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286000" lvl="4" indent="-3429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ts val="1800"/>
              <a:buFont typeface="Arial" pitchFamily="34" charset="0"/>
              <a:buChar char="○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743200" lvl="5" indent="-3429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ts val="1800"/>
              <a:buFont typeface="Arial" pitchFamily="34" charset="0"/>
              <a:buChar char="■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00400" lvl="6" indent="-3429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ts val="1800"/>
              <a:buFont typeface="Arial" pitchFamily="34" charset="0"/>
              <a:buChar char="●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7600" lvl="7" indent="-3429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ts val="1800"/>
              <a:buFont typeface="Arial" pitchFamily="34" charset="0"/>
              <a:buChar char="○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14800" lvl="8" indent="-3429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ts val="1800"/>
              <a:buFont typeface="Arial" pitchFamily="34" charset="0"/>
              <a:buChar char="■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4625" indent="-174625">
              <a:spcBef>
                <a:spcPts val="0"/>
              </a:spcBef>
              <a:buFont typeface="Courier New" panose="02070309020205020404" pitchFamily="49" charset="0"/>
              <a:buNone/>
            </a:pPr>
            <a:r>
              <a:rPr lang="en-US" sz="1600" dirty="0">
                <a:solidFill>
                  <a:schemeClr val="tx1"/>
                </a:solidFill>
                <a:ea typeface="Malgun Gothic" panose="020B0503020000020004" pitchFamily="34" charset="-127"/>
              </a:rPr>
              <a:t>1. </a:t>
            </a:r>
            <a:r>
              <a:rPr lang="km-KH" sz="1600" dirty="0">
                <a:solidFill>
                  <a:schemeClr val="tx1"/>
                </a:solidFill>
                <a:ea typeface="Malgun Gothic" panose="020B0503020000020004" pitchFamily="34" charset="-127"/>
              </a:rPr>
              <a:t>ព័ត៌មានទាក់ទងសេវាអប់រំបង្ការ និងតេស្ត </a:t>
            </a:r>
            <a:r>
              <a:rPr lang="en-US" sz="1600" dirty="0">
                <a:solidFill>
                  <a:schemeClr val="tx1"/>
                </a:solidFill>
                <a:ea typeface="Malgun Gothic" panose="020B0503020000020004" pitchFamily="34" charset="-127"/>
              </a:rPr>
              <a:t>(Prevention and HIV Test): </a:t>
            </a:r>
            <a:r>
              <a:rPr lang="en-US" sz="1600" u="sng" dirty="0">
                <a:solidFill>
                  <a:schemeClr val="tx1"/>
                </a:solidFill>
                <a:ea typeface="Malgun Gothic" panose="020B0503020000020004" pitchFamily="34" charset="-127"/>
                <a:hlinkClick r:id="rId9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ee.humanitarianresponse.info/x/B9as9t2Z</a:t>
            </a:r>
            <a:r>
              <a:rPr lang="en-US" sz="1600" dirty="0">
                <a:solidFill>
                  <a:schemeClr val="tx1"/>
                </a:solidFill>
                <a:ea typeface="Malgun Gothic" panose="020B0503020000020004" pitchFamily="34" charset="-127"/>
              </a:rPr>
              <a:t> </a:t>
            </a:r>
            <a:endParaRPr lang="en-US" sz="1600" dirty="0">
              <a:solidFill>
                <a:schemeClr val="tx1"/>
              </a:solidFill>
              <a:ea typeface="Times New Roman" panose="02020603050405020304" pitchFamily="18" charset="0"/>
            </a:endParaRPr>
          </a:p>
        </p:txBody>
      </p:sp>
      <p:sp>
        <p:nvSpPr>
          <p:cNvPr id="33" name="Content Placeholder 4">
            <a:extLst>
              <a:ext uri="{FF2B5EF4-FFF2-40B4-BE49-F238E27FC236}">
                <a16:creationId xmlns:a16="http://schemas.microsoft.com/office/drawing/2014/main" id="{23722E65-89AF-DCED-949F-1C53B82F7F5B}"/>
              </a:ext>
            </a:extLst>
          </p:cNvPr>
          <p:cNvSpPr txBox="1">
            <a:spLocks/>
          </p:cNvSpPr>
          <p:nvPr/>
        </p:nvSpPr>
        <p:spPr>
          <a:xfrm>
            <a:off x="1283485" y="3338040"/>
            <a:ext cx="2560727" cy="1675254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12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Khmer OS Siemreap" panose="02000500000000020004" pitchFamily="2" charset="0"/>
                <a:ea typeface="+mn-ea"/>
                <a:cs typeface="Khmer OS Siemreap" panose="02000500000000020004" pitchFamily="2" charset="0"/>
              </a:defRPr>
            </a:lvl1pPr>
            <a:lvl2pPr marL="6858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Khmer OS Siemreap" panose="02000500000000020004" pitchFamily="2" charset="0"/>
                <a:ea typeface="+mn-ea"/>
                <a:cs typeface="Khmer OS Siemreap" panose="02000500000000020004" pitchFamily="2" charset="0"/>
              </a:defRPr>
            </a:lvl2pPr>
            <a:lvl3pPr marL="11430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Khmer OS Siemreap" panose="02000500000000020004" pitchFamily="2" charset="0"/>
                <a:ea typeface="+mn-ea"/>
                <a:cs typeface="Khmer OS Siemreap" panose="02000500000000020004" pitchFamily="2" charset="0"/>
              </a:defRPr>
            </a:lvl3pPr>
            <a:lvl4pPr marL="16002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Khmer OS Siemreap" panose="02000500000000020004" pitchFamily="2" charset="0"/>
                <a:ea typeface="+mn-ea"/>
                <a:cs typeface="Khmer OS Siemreap" panose="02000500000000020004" pitchFamily="2" charset="0"/>
              </a:defRPr>
            </a:lvl4pPr>
            <a:lvl5pPr marL="20574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Khmer OS Siemreap" panose="02000500000000020004" pitchFamily="2" charset="0"/>
                <a:ea typeface="+mn-ea"/>
                <a:cs typeface="Khmer OS Siemreap" panose="02000500000000020004" pitchFamily="2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4625" indent="-174625">
              <a:buNone/>
            </a:pPr>
            <a:r>
              <a:rPr lang="en-US" sz="1600" dirty="0">
                <a:ea typeface="Malgun Gothic" panose="020B0503020000020004" pitchFamily="34" charset="-127"/>
              </a:rPr>
              <a:t>2. </a:t>
            </a:r>
            <a:r>
              <a:rPr lang="km-KH" sz="1600" dirty="0">
                <a:ea typeface="Malgun Gothic" panose="020B0503020000020004" pitchFamily="34" charset="-127"/>
              </a:rPr>
              <a:t>ព័ត៌មានទាក់ទងសេវាអប់រំបង្ការ និងប្រឹព (</a:t>
            </a:r>
            <a:r>
              <a:rPr lang="en-US" sz="1600" dirty="0">
                <a:ea typeface="Malgun Gothic" panose="020B0503020000020004" pitchFamily="34" charset="-127"/>
              </a:rPr>
              <a:t>Prevention and </a:t>
            </a:r>
            <a:r>
              <a:rPr lang="en-US" sz="1600" dirty="0" err="1">
                <a:ea typeface="Malgun Gothic" panose="020B0503020000020004" pitchFamily="34" charset="-127"/>
              </a:rPr>
              <a:t>PrEP</a:t>
            </a:r>
            <a:r>
              <a:rPr lang="en-US" sz="1600" dirty="0">
                <a:ea typeface="Malgun Gothic" panose="020B0503020000020004" pitchFamily="34" charset="-127"/>
              </a:rPr>
              <a:t>): </a:t>
            </a:r>
            <a:r>
              <a:rPr lang="en-US" sz="1600" u="sng" dirty="0">
                <a:ea typeface="Malgun Gothic" panose="020B0503020000020004" pitchFamily="34" charset="-127"/>
                <a:hlinkClick r:id="rId10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ee.humanitarianresponse.info/x/18drfVye</a:t>
            </a:r>
            <a:r>
              <a:rPr lang="en-US" sz="1600" dirty="0">
                <a:ea typeface="Malgun Gothic" panose="020B0503020000020004" pitchFamily="34" charset="-127"/>
              </a:rPr>
              <a:t> </a:t>
            </a:r>
            <a:endParaRPr lang="en-US" sz="1600" dirty="0">
              <a:ea typeface="Times New Roman" panose="02020603050405020304" pitchFamily="18" charset="0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5792D11C-8C3A-A961-0D93-81A67B2BC7E0}"/>
              </a:ext>
            </a:extLst>
          </p:cNvPr>
          <p:cNvSpPr txBox="1"/>
          <p:nvPr/>
        </p:nvSpPr>
        <p:spPr>
          <a:xfrm>
            <a:off x="5168727" y="1496545"/>
            <a:ext cx="2295373" cy="13234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4625" indent="-174625"/>
            <a:r>
              <a:rPr lang="en-US" sz="1600" dirty="0">
                <a:effectLst/>
                <a:latin typeface="Khmer OS Siemreap" panose="02000500000000020004" pitchFamily="2" charset="0"/>
                <a:ea typeface="Malgun Gothic" panose="020B0503020000020004" pitchFamily="34" charset="-127"/>
                <a:cs typeface="Khmer OS Siemreap" panose="02000500000000020004" pitchFamily="2" charset="0"/>
              </a:rPr>
              <a:t>3. </a:t>
            </a:r>
            <a:r>
              <a:rPr lang="km-KH" sz="1600" dirty="0">
                <a:effectLst/>
                <a:latin typeface="Khmer OS Siemreap" panose="02000500000000020004" pitchFamily="2" charset="0"/>
                <a:ea typeface="Malgun Gothic" panose="020B0503020000020004" pitchFamily="34" charset="-127"/>
                <a:cs typeface="Khmer OS Siemreap" panose="02000500000000020004" pitchFamily="2" charset="0"/>
              </a:rPr>
              <a:t>សេវាពិនិត្យនិងព្យាបាលជំងឺកាមរោគ (</a:t>
            </a:r>
            <a:r>
              <a:rPr lang="en-US" sz="1600" dirty="0">
                <a:effectLst/>
                <a:latin typeface="Khmer OS Siemreap" panose="02000500000000020004" pitchFamily="2" charset="0"/>
                <a:ea typeface="Malgun Gothic" panose="020B0503020000020004" pitchFamily="34" charset="-127"/>
                <a:cs typeface="Khmer OS Siemreap" panose="02000500000000020004" pitchFamily="2" charset="0"/>
              </a:rPr>
              <a:t>STI): </a:t>
            </a:r>
            <a:r>
              <a:rPr lang="en-US" sz="1600" u="sng" dirty="0">
                <a:effectLst/>
                <a:latin typeface="Khmer OS Siemreap" panose="02000500000000020004" pitchFamily="2" charset="0"/>
                <a:ea typeface="Malgun Gothic" panose="020B0503020000020004" pitchFamily="34" charset="-127"/>
                <a:cs typeface="Khmer OS Siemreap" panose="02000500000000020004" pitchFamily="2" charset="0"/>
                <a:hlinkClick r:id="rId11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ee.humanitarianresponse.info/x/2OHy7ger</a:t>
            </a:r>
            <a:r>
              <a:rPr lang="en-US" sz="1600" dirty="0">
                <a:effectLst/>
                <a:latin typeface="Khmer OS Siemreap" panose="02000500000000020004" pitchFamily="2" charset="0"/>
                <a:ea typeface="Malgun Gothic" panose="020B0503020000020004" pitchFamily="34" charset="-127"/>
                <a:cs typeface="Khmer OS Siemreap" panose="02000500000000020004" pitchFamily="2" charset="0"/>
              </a:rPr>
              <a:t> 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1BD6554C-25AF-DFB8-F68B-27D75273987E}"/>
              </a:ext>
            </a:extLst>
          </p:cNvPr>
          <p:cNvSpPr txBox="1"/>
          <p:nvPr/>
        </p:nvSpPr>
        <p:spPr>
          <a:xfrm>
            <a:off x="5169117" y="3397070"/>
            <a:ext cx="2295373" cy="15696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4625" indent="-174625"/>
            <a:r>
              <a:rPr lang="en-US" sz="1600" dirty="0">
                <a:effectLst/>
                <a:latin typeface="Khmer OS Siemreap" panose="02000500000000020004" pitchFamily="2" charset="0"/>
                <a:ea typeface="Malgun Gothic" panose="020B0503020000020004" pitchFamily="34" charset="-127"/>
                <a:cs typeface="Khmer OS Siemreap" panose="02000500000000020004" pitchFamily="2" charset="0"/>
              </a:rPr>
              <a:t>4. </a:t>
            </a:r>
            <a:r>
              <a:rPr lang="km-KH" sz="1600" dirty="0">
                <a:effectLst/>
                <a:latin typeface="Khmer OS Siemreap" panose="02000500000000020004" pitchFamily="2" charset="0"/>
                <a:ea typeface="Malgun Gothic" panose="020B0503020000020004" pitchFamily="34" charset="-127"/>
                <a:cs typeface="Khmer OS Siemreap" panose="02000500000000020004" pitchFamily="2" charset="0"/>
              </a:rPr>
              <a:t>ផែ្នកថែទាំ ព្យាបាល និងគាំទ្រសហគមន៍ (</a:t>
            </a:r>
            <a:r>
              <a:rPr lang="en-US" sz="1600" dirty="0">
                <a:effectLst/>
                <a:latin typeface="Khmer OS Siemreap" panose="02000500000000020004" pitchFamily="2" charset="0"/>
                <a:ea typeface="Malgun Gothic" panose="020B0503020000020004" pitchFamily="34" charset="-127"/>
                <a:cs typeface="Khmer OS Siemreap" panose="02000500000000020004" pitchFamily="2" charset="0"/>
              </a:rPr>
              <a:t>Care and Treatment): </a:t>
            </a:r>
            <a:r>
              <a:rPr lang="en-US" sz="1600" u="sng" dirty="0">
                <a:effectLst/>
                <a:latin typeface="Khmer OS Siemreap" panose="02000500000000020004" pitchFamily="2" charset="0"/>
                <a:ea typeface="Malgun Gothic" panose="020B0503020000020004" pitchFamily="34" charset="-127"/>
                <a:cs typeface="Khmer OS Siemreap" panose="02000500000000020004" pitchFamily="2" charset="0"/>
                <a:hlinkClick r:id="rId1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ee.humanitarianresponse.info/x/1onodePS</a:t>
            </a:r>
            <a:r>
              <a:rPr lang="en-US" sz="1600" dirty="0">
                <a:effectLst/>
                <a:latin typeface="Khmer OS Siemreap" panose="02000500000000020004" pitchFamily="2" charset="0"/>
                <a:ea typeface="Malgun Gothic" panose="020B0503020000020004" pitchFamily="34" charset="-127"/>
                <a:cs typeface="Khmer OS Siemreap" panose="02000500000000020004" pitchFamily="2" charset="0"/>
              </a:rPr>
              <a:t>  </a:t>
            </a:r>
            <a:endParaRPr lang="en-US" sz="1600" dirty="0">
              <a:effectLst/>
              <a:latin typeface="Khmer OS Siemreap" panose="02000500000000020004" pitchFamily="2" charset="0"/>
              <a:ea typeface="Times New Roman" panose="02020603050405020304" pitchFamily="18" charset="0"/>
              <a:cs typeface="Khmer OS Siemreap" panose="02000500000000020004" pitchFamily="2" charset="0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AE1276E0-7A90-FE37-FBD6-6186CED7E510}"/>
              </a:ext>
            </a:extLst>
          </p:cNvPr>
          <p:cNvSpPr txBox="1"/>
          <p:nvPr/>
        </p:nvSpPr>
        <p:spPr>
          <a:xfrm>
            <a:off x="8789005" y="1534324"/>
            <a:ext cx="2493622" cy="10772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600" dirty="0">
                <a:effectLst/>
                <a:latin typeface="Khmer OS Siemreap" panose="02000500000000020004" pitchFamily="2" charset="0"/>
                <a:ea typeface="Malgun Gothic" panose="020B0503020000020004" pitchFamily="34" charset="-127"/>
                <a:cs typeface="Khmer OS Siemreap" panose="02000500000000020004" pitchFamily="2" charset="0"/>
              </a:rPr>
              <a:t>5. </a:t>
            </a:r>
            <a:r>
              <a:rPr lang="km-KH" sz="1600" dirty="0">
                <a:effectLst/>
                <a:latin typeface="Khmer OS Siemreap" panose="02000500000000020004" pitchFamily="2" charset="0"/>
                <a:ea typeface="Malgun Gothic" panose="020B0503020000020004" pitchFamily="34" charset="-127"/>
                <a:cs typeface="Khmer OS Siemreap" panose="02000500000000020004" pitchFamily="2" charset="0"/>
              </a:rPr>
              <a:t>កិច្ចគាំពារសង្គម (</a:t>
            </a:r>
            <a:r>
              <a:rPr lang="en-US" sz="1600" dirty="0">
                <a:effectLst/>
                <a:latin typeface="Khmer OS Siemreap" panose="02000500000000020004" pitchFamily="2" charset="0"/>
                <a:ea typeface="Malgun Gothic" panose="020B0503020000020004" pitchFamily="34" charset="-127"/>
                <a:cs typeface="Khmer OS Siemreap" panose="02000500000000020004" pitchFamily="2" charset="0"/>
              </a:rPr>
              <a:t>Social Protection): </a:t>
            </a:r>
          </a:p>
          <a:p>
            <a:pPr>
              <a:tabLst>
                <a:tab pos="174625" algn="l"/>
              </a:tabLst>
            </a:pPr>
            <a:r>
              <a:rPr lang="en-US" sz="1600" u="sng" dirty="0">
                <a:effectLst/>
                <a:latin typeface="Khmer OS Siemreap" panose="02000500000000020004" pitchFamily="2" charset="0"/>
                <a:ea typeface="Malgun Gothic" panose="020B0503020000020004" pitchFamily="34" charset="-127"/>
                <a:cs typeface="Khmer OS Siemreap" panose="02000500000000020004" pitchFamily="2" charset="0"/>
                <a:hlinkClick r:id="rId1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ee.humanitarianresponse.info/x/OTlFw3lg</a:t>
            </a:r>
            <a:r>
              <a:rPr lang="en-US" sz="1600" dirty="0">
                <a:effectLst/>
                <a:latin typeface="Khmer OS Siemreap" panose="02000500000000020004" pitchFamily="2" charset="0"/>
                <a:ea typeface="Malgun Gothic" panose="020B0503020000020004" pitchFamily="34" charset="-127"/>
                <a:cs typeface="Khmer OS Siemreap" panose="02000500000000020004" pitchFamily="2" charset="0"/>
              </a:rPr>
              <a:t> </a:t>
            </a:r>
            <a:endParaRPr lang="en-US" sz="1600" dirty="0">
              <a:effectLst/>
              <a:latin typeface="Khmer OS Siemreap" panose="02000500000000020004" pitchFamily="2" charset="0"/>
              <a:ea typeface="Times New Roman" panose="02020603050405020304" pitchFamily="18" charset="0"/>
              <a:cs typeface="Khmer OS Siemreap" panose="02000500000000020004" pitchFamily="2" charset="0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F9AC61AF-D4E0-5781-1235-93B4750564A7}"/>
              </a:ext>
            </a:extLst>
          </p:cNvPr>
          <p:cNvSpPr txBox="1"/>
          <p:nvPr/>
        </p:nvSpPr>
        <p:spPr>
          <a:xfrm>
            <a:off x="8789005" y="3381513"/>
            <a:ext cx="2493622" cy="10772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600" dirty="0">
                <a:effectLst/>
                <a:latin typeface="Khmer OS Siemreap" panose="02000500000000020004" pitchFamily="2" charset="0"/>
                <a:ea typeface="Malgun Gothic" panose="020B0503020000020004" pitchFamily="34" charset="-127"/>
                <a:cs typeface="Khmer OS Siemreap" panose="02000500000000020004" pitchFamily="2" charset="0"/>
              </a:rPr>
              <a:t>6. </a:t>
            </a:r>
            <a:r>
              <a:rPr lang="km-KH" sz="1600" dirty="0">
                <a:effectLst/>
                <a:latin typeface="Khmer OS Siemreap" panose="02000500000000020004" pitchFamily="2" charset="0"/>
                <a:ea typeface="Malgun Gothic" panose="020B0503020000020004" pitchFamily="34" charset="-127"/>
                <a:cs typeface="Khmer OS Siemreap" panose="02000500000000020004" pitchFamily="2" charset="0"/>
              </a:rPr>
              <a:t>សិទ្ធ</a:t>
            </a:r>
            <a:r>
              <a:rPr lang="km-KH" sz="1600" dirty="0">
                <a:latin typeface="Khmer OS Siemreap" panose="02000500000000020004" pitchFamily="2" charset="0"/>
                <a:ea typeface="Malgun Gothic" panose="020B0503020000020004" pitchFamily="34" charset="-127"/>
                <a:cs typeface="Khmer OS Siemreap" panose="02000500000000020004" pitchFamily="2" charset="0"/>
              </a:rPr>
              <a:t>មនុស្ស</a:t>
            </a:r>
            <a:r>
              <a:rPr lang="km-KH" sz="1600" dirty="0">
                <a:effectLst/>
                <a:latin typeface="Khmer OS Siemreap" panose="02000500000000020004" pitchFamily="2" charset="0"/>
                <a:ea typeface="Malgun Gothic" panose="020B0503020000020004" pitchFamily="34" charset="-127"/>
                <a:cs typeface="Khmer OS Siemreap" panose="02000500000000020004" pitchFamily="2" charset="0"/>
              </a:rPr>
              <a:t> និងអំពើហិង្សាលើយេនឌ័រ (</a:t>
            </a:r>
            <a:r>
              <a:rPr lang="en-US" sz="1600" dirty="0">
                <a:effectLst/>
                <a:latin typeface="Khmer OS Siemreap" panose="02000500000000020004" pitchFamily="2" charset="0"/>
                <a:ea typeface="Malgun Gothic" panose="020B0503020000020004" pitchFamily="34" charset="-127"/>
                <a:cs typeface="Khmer OS Siemreap" panose="02000500000000020004" pitchFamily="2" charset="0"/>
              </a:rPr>
              <a:t>GBV): </a:t>
            </a:r>
          </a:p>
          <a:p>
            <a:pPr marL="174625" indent="-174625"/>
            <a:r>
              <a:rPr lang="en-US" sz="1600" u="sng" dirty="0">
                <a:effectLst/>
                <a:latin typeface="Khmer OS Siemreap" panose="02000500000000020004" pitchFamily="2" charset="0"/>
                <a:ea typeface="Malgun Gothic" panose="020B0503020000020004" pitchFamily="34" charset="-127"/>
                <a:cs typeface="Khmer OS Siemreap" panose="02000500000000020004" pitchFamily="2" charset="0"/>
                <a:hlinkClick r:id="rId1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ee.humanitarianresponse.info/x/VGTb4rWl</a:t>
            </a:r>
            <a:r>
              <a:rPr lang="en-US" sz="1600" dirty="0">
                <a:effectLst/>
                <a:latin typeface="Khmer OS Siemreap" panose="02000500000000020004" pitchFamily="2" charset="0"/>
                <a:ea typeface="Malgun Gothic" panose="020B0503020000020004" pitchFamily="34" charset="-127"/>
                <a:cs typeface="Khmer OS Siemreap" panose="02000500000000020004" pitchFamily="2" charset="0"/>
              </a:rPr>
              <a:t> </a:t>
            </a:r>
            <a:endParaRPr lang="en-US" sz="1600" dirty="0">
              <a:effectLst/>
              <a:latin typeface="Khmer OS Siemreap" panose="02000500000000020004" pitchFamily="2" charset="0"/>
              <a:ea typeface="Times New Roman" panose="02020603050405020304" pitchFamily="18" charset="0"/>
              <a:cs typeface="Khmer OS Siemreap" panose="02000500000000020004" pitchFamily="2" charset="0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4657F5EF-6FD6-17BB-3FA4-AD3638836018}"/>
              </a:ext>
            </a:extLst>
          </p:cNvPr>
          <p:cNvSpPr txBox="1"/>
          <p:nvPr/>
        </p:nvSpPr>
        <p:spPr>
          <a:xfrm>
            <a:off x="8795384" y="5257153"/>
            <a:ext cx="2728679" cy="10772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600" dirty="0">
                <a:effectLst/>
                <a:latin typeface="Khmer OS Siemreap" panose="02000500000000020004" pitchFamily="2" charset="0"/>
                <a:ea typeface="Malgun Gothic" panose="020B0503020000020004" pitchFamily="34" charset="-127"/>
                <a:cs typeface="Khmer OS Siemreap" panose="02000500000000020004" pitchFamily="2" charset="0"/>
              </a:rPr>
              <a:t>7. </a:t>
            </a:r>
            <a:r>
              <a:rPr lang="km-KH" sz="1600" dirty="0">
                <a:effectLst/>
                <a:latin typeface="Khmer OS Siemreap" panose="02000500000000020004" pitchFamily="2" charset="0"/>
                <a:ea typeface="Malgun Gothic" panose="020B0503020000020004" pitchFamily="34" charset="-127"/>
                <a:cs typeface="Khmer OS Siemreap" panose="02000500000000020004" pitchFamily="2" charset="0"/>
              </a:rPr>
              <a:t>ការមាក់ងាយ និងការរើសអើង</a:t>
            </a:r>
            <a:r>
              <a:rPr lang="en-US" sz="1600" dirty="0">
                <a:effectLst/>
                <a:latin typeface="Khmer OS Siemreap" panose="02000500000000020004" pitchFamily="2" charset="0"/>
                <a:ea typeface="Malgun Gothic" panose="020B0503020000020004" pitchFamily="34" charset="-127"/>
                <a:cs typeface="Khmer OS Siemreap" panose="02000500000000020004" pitchFamily="2" charset="0"/>
              </a:rPr>
              <a:t> (Stigma</a:t>
            </a:r>
            <a:r>
              <a:rPr lang="km-KH" sz="1600" dirty="0">
                <a:effectLst/>
                <a:latin typeface="Khmer OS Siemreap" panose="02000500000000020004" pitchFamily="2" charset="0"/>
                <a:ea typeface="Malgun Gothic" panose="020B0503020000020004" pitchFamily="34" charset="-127"/>
                <a:cs typeface="Khmer OS Siemreap" panose="02000500000000020004" pitchFamily="2" charset="0"/>
              </a:rPr>
              <a:t>​</a:t>
            </a:r>
            <a:r>
              <a:rPr lang="en-US" sz="1600" dirty="0">
                <a:effectLst/>
                <a:latin typeface="Khmer OS Siemreap" panose="02000500000000020004" pitchFamily="2" charset="0"/>
                <a:ea typeface="Malgun Gothic" panose="020B0503020000020004" pitchFamily="34" charset="-127"/>
                <a:cs typeface="Khmer OS Siemreap" panose="02000500000000020004" pitchFamily="2" charset="0"/>
              </a:rPr>
              <a:t> &amp; Discrimination): </a:t>
            </a:r>
            <a:r>
              <a:rPr lang="en-US" sz="1600" u="sng" dirty="0">
                <a:effectLst/>
                <a:latin typeface="Khmer OS Siemreap" panose="02000500000000020004" pitchFamily="2" charset="0"/>
                <a:ea typeface="Malgun Gothic" panose="020B0503020000020004" pitchFamily="34" charset="-127"/>
                <a:cs typeface="Khmer OS Siemreap" panose="02000500000000020004" pitchFamily="2" charset="0"/>
                <a:hlinkClick r:id="rId1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ee.humanitarianresponse.info/x/GzWWvVm3</a:t>
            </a:r>
            <a:r>
              <a:rPr lang="en-US" sz="1600" dirty="0">
                <a:effectLst/>
                <a:latin typeface="Khmer OS Siemreap" panose="02000500000000020004" pitchFamily="2" charset="0"/>
                <a:ea typeface="Malgun Gothic" panose="020B0503020000020004" pitchFamily="34" charset="-127"/>
                <a:cs typeface="Khmer OS Siemreap" panose="02000500000000020004" pitchFamily="2" charset="0"/>
              </a:rPr>
              <a:t> </a:t>
            </a:r>
            <a:endParaRPr lang="en-US" sz="1600" dirty="0">
              <a:latin typeface="Khmer OS Siemreap" panose="02000500000000020004" pitchFamily="2" charset="0"/>
              <a:cs typeface="Khmer OS Siemreap" panose="02000500000000020004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7122433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OWER_POINT_EXCEL_LINK_TAG_NAME" val="{&quot;Id&quot;:&quot;POWER_USER_LINK_26A88B08_093C_45A3_84CA_6A68521B8C78&quot;,&quot;SourceFullName&quot;:&quot;C:\\1.FHI360_EpiC\\3.Strategic Information\\Maps\\Cambodia Excel Maps - Copy.xlsx&quot;,&quot;LastUpdate&quot;:&quot;2022-11-18 1:12 PM&quot;,&quot;UpdatedBy&quot;:&quot;RChandary&quot;,&quot;IsLinked&quot;:false,&quot;IsBrokenLink&quot;:false,&quot;Type&quot;:1}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716</TotalTime>
  <Words>1610</Words>
  <Application>Microsoft Office PowerPoint</Application>
  <PresentationFormat>Widescreen</PresentationFormat>
  <Paragraphs>208</Paragraphs>
  <Slides>13</Slides>
  <Notes>3</Notes>
  <HiddenSlides>0</HiddenSlides>
  <MMClips>0</MMClips>
  <ScaleCrop>false</ScaleCrop>
  <HeadingPairs>
    <vt:vector size="6" baseType="variant">
      <vt:variant>
        <vt:lpstr>Fonts Used</vt:lpstr>
      </vt:variant>
      <vt:variant>
        <vt:i4>12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26" baseType="lpstr">
      <vt:lpstr>Arial</vt:lpstr>
      <vt:lpstr>Calibri</vt:lpstr>
      <vt:lpstr>Calibri Light</vt:lpstr>
      <vt:lpstr>Courier New</vt:lpstr>
      <vt:lpstr>Daytona Condensed</vt:lpstr>
      <vt:lpstr>Impact</vt:lpstr>
      <vt:lpstr>Khmer OS Battambang</vt:lpstr>
      <vt:lpstr>Khmer OS Content</vt:lpstr>
      <vt:lpstr>Khmer OS Muol Light</vt:lpstr>
      <vt:lpstr>Khmer OS Siemreap</vt:lpstr>
      <vt:lpstr>Source Sans Pro</vt:lpstr>
      <vt:lpstr>Wingdings</vt:lpstr>
      <vt:lpstr>Office Theme</vt:lpstr>
      <vt:lpstr>ការអនុវត្តន៍ការតាមដានដែលដឹកនាំដោយសហគមន៍នៃកម្មវិធីអេដស៍ Community-Led Monitoring (CLM) on HIV Program Response</vt:lpstr>
      <vt:lpstr>PowerPoint Presentation</vt:lpstr>
      <vt:lpstr>PowerPoint Presentation</vt:lpstr>
      <vt:lpstr>PowerPoint Presentation</vt:lpstr>
      <vt:lpstr>អំពីវេទិកាហ្វុនប៉ាម និងឌីហ្វុនប៉ាម</vt:lpstr>
      <vt:lpstr>ការផ្តួចផ្តើម និងរៀបចំអនុវត្ត CLM</vt:lpstr>
      <vt:lpstr>ការផ្តួចផ្តើម និងរៀបចំអនុវត្ត CLM</vt:lpstr>
      <vt:lpstr>រចនាសម្ព័ន្ធនៃការអនុវត្ត CLM</vt:lpstr>
      <vt:lpstr>PowerPoint Presentation</vt:lpstr>
      <vt:lpstr>ខេត្តដែលបានអនុវត្ត CLM</vt:lpstr>
      <vt:lpstr>PowerPoint Presentation</vt:lpstr>
      <vt:lpstr>លទ្ធផលនៃCLM ផ្នែកកិច្ចគាំពារសង្គម</vt:lpstr>
      <vt:lpstr>សូមអរគុណ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Dalen Nhim</dc:creator>
  <cp:lastModifiedBy>Khun Rathana</cp:lastModifiedBy>
  <cp:revision>181</cp:revision>
  <cp:lastPrinted>2023-04-10T10:11:29Z</cp:lastPrinted>
  <dcterms:created xsi:type="dcterms:W3CDTF">2022-11-16T02:36:03Z</dcterms:created>
  <dcterms:modified xsi:type="dcterms:W3CDTF">2023-08-09T02:09:30Z</dcterms:modified>
</cp:coreProperties>
</file>